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24"/>
  </p:notesMasterIdLst>
  <p:handoutMasterIdLst>
    <p:handoutMasterId r:id="rId25"/>
  </p:handoutMasterIdLst>
  <p:sldIdLst>
    <p:sldId id="256" r:id="rId2"/>
    <p:sldId id="304" r:id="rId3"/>
    <p:sldId id="257" r:id="rId4"/>
    <p:sldId id="300" r:id="rId5"/>
    <p:sldId id="305" r:id="rId6"/>
    <p:sldId id="287" r:id="rId7"/>
    <p:sldId id="288" r:id="rId8"/>
    <p:sldId id="259" r:id="rId9"/>
    <p:sldId id="286" r:id="rId10"/>
    <p:sldId id="306" r:id="rId11"/>
    <p:sldId id="260" r:id="rId12"/>
    <p:sldId id="307" r:id="rId13"/>
    <p:sldId id="299" r:id="rId14"/>
    <p:sldId id="302" r:id="rId15"/>
    <p:sldId id="308" r:id="rId16"/>
    <p:sldId id="309" r:id="rId17"/>
    <p:sldId id="310" r:id="rId18"/>
    <p:sldId id="311" r:id="rId19"/>
    <p:sldId id="312" r:id="rId20"/>
    <p:sldId id="313" r:id="rId21"/>
    <p:sldId id="314" r:id="rId22"/>
    <p:sldId id="315" r:id="rId23"/>
  </p:sldIdLst>
  <p:sldSz cx="9144000" cy="6858000" type="screen4x3"/>
  <p:notesSz cx="6797675" cy="9926638"/>
  <p:custDataLst>
    <p:tags r:id="rId2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733" y="-5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hamanova\AppData\Local\temp\p&#345;&#237;r&#367;stek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okumenty\nab&#237;dka\ROK%202017\SEN&#193;T%20&#268;R\podklady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D:\Dokumenty\nab&#237;dka\ROK%202016\RADNICE\KONFERENCE%20SVAZ%20M&#282;ST\pohyb%20obyvatelstva_1785_201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cs-CZ"/>
              <a:t>Živě</a:t>
            </a:r>
            <a:r>
              <a:rPr lang="cs-CZ" baseline="0"/>
              <a:t> narození, zemřelí, přistěhovalí, vystěhovalí</a:t>
            </a:r>
            <a:endParaRPr lang="cs-CZ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4188410689683489"/>
          <c:y val="8.7317444720672197E-2"/>
          <c:w val="0.8365126838867043"/>
          <c:h val="0.75403035205735491"/>
        </c:manualLayout>
      </c:layout>
      <c:lineChart>
        <c:grouping val="standard"/>
        <c:varyColors val="0"/>
        <c:ser>
          <c:idx val="1"/>
          <c:order val="0"/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B$36:$B$101</c:f>
            </c:numRef>
          </c:val>
          <c:smooth val="0"/>
        </c:ser>
        <c:ser>
          <c:idx val="2"/>
          <c:order val="1"/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C$36:$C$101</c:f>
            </c:numRef>
          </c:val>
          <c:smooth val="0"/>
        </c:ser>
        <c:ser>
          <c:idx val="3"/>
          <c:order val="2"/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D$36:$D$101</c:f>
            </c:numRef>
          </c:val>
          <c:smooth val="0"/>
        </c:ser>
        <c:ser>
          <c:idx val="4"/>
          <c:order val="3"/>
          <c:tx>
            <c:strRef>
              <c:f>'[přírůstek.xlsx]1-5a'!$E$3:$G$3</c:f>
              <c:strCache>
                <c:ptCount val="1"/>
                <c:pt idx="0">
                  <c:v>Narození
</c:v>
                </c:pt>
              </c:strCache>
            </c:strRef>
          </c:tx>
          <c:marker>
            <c:symbol val="none"/>
          </c:marker>
          <c:dLbls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9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5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E$5:$E$101</c:f>
              <c:numCache>
                <c:formatCode>#,##0</c:formatCode>
                <c:ptCount val="97"/>
                <c:pt idx="0">
                  <c:v>189675</c:v>
                </c:pt>
                <c:pt idx="1">
                  <c:v>244668</c:v>
                </c:pt>
                <c:pt idx="2">
                  <c:v>257281</c:v>
                </c:pt>
                <c:pt idx="3">
                  <c:v>248728</c:v>
                </c:pt>
                <c:pt idx="4">
                  <c:v>241230</c:v>
                </c:pt>
                <c:pt idx="5">
                  <c:v>228894</c:v>
                </c:pt>
                <c:pt idx="6">
                  <c:v>225555</c:v>
                </c:pt>
                <c:pt idx="7">
                  <c:v>219802</c:v>
                </c:pt>
                <c:pt idx="8">
                  <c:v>208711</c:v>
                </c:pt>
                <c:pt idx="9">
                  <c:v>208942</c:v>
                </c:pt>
                <c:pt idx="10">
                  <c:v>203064</c:v>
                </c:pt>
                <c:pt idx="11">
                  <c:v>207224</c:v>
                </c:pt>
                <c:pt idx="12">
                  <c:v>196214</c:v>
                </c:pt>
                <c:pt idx="13">
                  <c:v>190397</c:v>
                </c:pt>
                <c:pt idx="14">
                  <c:v>176201</c:v>
                </c:pt>
                <c:pt idx="15">
                  <c:v>171042</c:v>
                </c:pt>
                <c:pt idx="16">
                  <c:v>161748</c:v>
                </c:pt>
                <c:pt idx="17">
                  <c:v>157992</c:v>
                </c:pt>
                <c:pt idx="18">
                  <c:v>155996</c:v>
                </c:pt>
                <c:pt idx="19">
                  <c:v>163525</c:v>
                </c:pt>
                <c:pt idx="20">
                  <c:v>192344</c:v>
                </c:pt>
                <c:pt idx="21">
                  <c:v>218043</c:v>
                </c:pt>
                <c:pt idx="22">
                  <c:v>208913</c:v>
                </c:pt>
                <c:pt idx="23">
                  <c:v>199259</c:v>
                </c:pt>
                <c:pt idx="24">
                  <c:v>225379</c:v>
                </c:pt>
                <c:pt idx="25">
                  <c:v>230183</c:v>
                </c:pt>
                <c:pt idx="26">
                  <c:v>194182</c:v>
                </c:pt>
                <c:pt idx="27">
                  <c:v>210454</c:v>
                </c:pt>
                <c:pt idx="28">
                  <c:v>206745</c:v>
                </c:pt>
                <c:pt idx="29">
                  <c:v>197837</c:v>
                </c:pt>
                <c:pt idx="30">
                  <c:v>185484</c:v>
                </c:pt>
                <c:pt idx="31">
                  <c:v>188341</c:v>
                </c:pt>
                <c:pt idx="32">
                  <c:v>185570</c:v>
                </c:pt>
                <c:pt idx="33">
                  <c:v>180143</c:v>
                </c:pt>
                <c:pt idx="34">
                  <c:v>172547</c:v>
                </c:pt>
                <c:pt idx="35">
                  <c:v>168402</c:v>
                </c:pt>
                <c:pt idx="36">
                  <c:v>165874</c:v>
                </c:pt>
                <c:pt idx="37">
                  <c:v>162509</c:v>
                </c:pt>
                <c:pt idx="38">
                  <c:v>155429</c:v>
                </c:pt>
                <c:pt idx="39">
                  <c:v>141762</c:v>
                </c:pt>
                <c:pt idx="40">
                  <c:v>128982</c:v>
                </c:pt>
                <c:pt idx="41">
                  <c:v>128879</c:v>
                </c:pt>
                <c:pt idx="42">
                  <c:v>131019</c:v>
                </c:pt>
                <c:pt idx="43">
                  <c:v>133557</c:v>
                </c:pt>
                <c:pt idx="44">
                  <c:v>148840</c:v>
                </c:pt>
                <c:pt idx="45">
                  <c:v>154420</c:v>
                </c:pt>
                <c:pt idx="46">
                  <c:v>147438</c:v>
                </c:pt>
                <c:pt idx="47">
                  <c:v>141162</c:v>
                </c:pt>
                <c:pt idx="48">
                  <c:v>138448</c:v>
                </c:pt>
                <c:pt idx="49">
                  <c:v>137437</c:v>
                </c:pt>
                <c:pt idx="50">
                  <c:v>143165</c:v>
                </c:pt>
                <c:pt idx="51">
                  <c:v>147865</c:v>
                </c:pt>
                <c:pt idx="52">
                  <c:v>154180</c:v>
                </c:pt>
                <c:pt idx="53">
                  <c:v>163661</c:v>
                </c:pt>
                <c:pt idx="54">
                  <c:v>181750</c:v>
                </c:pt>
                <c:pt idx="55">
                  <c:v>194215</c:v>
                </c:pt>
                <c:pt idx="56">
                  <c:v>191776</c:v>
                </c:pt>
                <c:pt idx="57">
                  <c:v>187378</c:v>
                </c:pt>
                <c:pt idx="58">
                  <c:v>181763</c:v>
                </c:pt>
                <c:pt idx="59">
                  <c:v>178901</c:v>
                </c:pt>
                <c:pt idx="60">
                  <c:v>172112</c:v>
                </c:pt>
                <c:pt idx="61">
                  <c:v>153801</c:v>
                </c:pt>
                <c:pt idx="62">
                  <c:v>144438</c:v>
                </c:pt>
                <c:pt idx="63">
                  <c:v>141738</c:v>
                </c:pt>
                <c:pt idx="64">
                  <c:v>137431</c:v>
                </c:pt>
                <c:pt idx="65">
                  <c:v>136941</c:v>
                </c:pt>
                <c:pt idx="66">
                  <c:v>135881</c:v>
                </c:pt>
                <c:pt idx="67">
                  <c:v>133356</c:v>
                </c:pt>
                <c:pt idx="68">
                  <c:v>130921</c:v>
                </c:pt>
                <c:pt idx="69">
                  <c:v>132667</c:v>
                </c:pt>
                <c:pt idx="70">
                  <c:v>128356</c:v>
                </c:pt>
                <c:pt idx="71">
                  <c:v>130564</c:v>
                </c:pt>
                <c:pt idx="72">
                  <c:v>129354</c:v>
                </c:pt>
                <c:pt idx="73">
                  <c:v>121705</c:v>
                </c:pt>
                <c:pt idx="74">
                  <c:v>121025</c:v>
                </c:pt>
                <c:pt idx="75">
                  <c:v>106579</c:v>
                </c:pt>
                <c:pt idx="76">
                  <c:v>96097</c:v>
                </c:pt>
                <c:pt idx="77">
                  <c:v>90446</c:v>
                </c:pt>
                <c:pt idx="78">
                  <c:v>90657</c:v>
                </c:pt>
                <c:pt idx="79">
                  <c:v>90535</c:v>
                </c:pt>
                <c:pt idx="80">
                  <c:v>89471</c:v>
                </c:pt>
                <c:pt idx="81">
                  <c:v>90910</c:v>
                </c:pt>
                <c:pt idx="82">
                  <c:v>90715</c:v>
                </c:pt>
                <c:pt idx="83">
                  <c:v>92786</c:v>
                </c:pt>
                <c:pt idx="84">
                  <c:v>93685</c:v>
                </c:pt>
                <c:pt idx="85">
                  <c:v>97664</c:v>
                </c:pt>
                <c:pt idx="86">
                  <c:v>102211</c:v>
                </c:pt>
                <c:pt idx="87">
                  <c:v>105831</c:v>
                </c:pt>
                <c:pt idx="88">
                  <c:v>114632</c:v>
                </c:pt>
                <c:pt idx="89">
                  <c:v>119570</c:v>
                </c:pt>
                <c:pt idx="90">
                  <c:v>118348</c:v>
                </c:pt>
                <c:pt idx="91">
                  <c:v>117153</c:v>
                </c:pt>
                <c:pt idx="92">
                  <c:v>108673</c:v>
                </c:pt>
                <c:pt idx="93">
                  <c:v>108576</c:v>
                </c:pt>
                <c:pt idx="94">
                  <c:v>106751</c:v>
                </c:pt>
                <c:pt idx="95">
                  <c:v>109860</c:v>
                </c:pt>
                <c:pt idx="96">
                  <c:v>110764</c:v>
                </c:pt>
              </c:numCache>
            </c:numRef>
          </c:val>
          <c:smooth val="0"/>
        </c:ser>
        <c:ser>
          <c:idx val="5"/>
          <c:order val="4"/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F$36:$F$101</c:f>
            </c:numRef>
          </c:val>
          <c:smooth val="0"/>
        </c:ser>
        <c:ser>
          <c:idx val="6"/>
          <c:order val="5"/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G$36:$G$101</c:f>
            </c:numRef>
          </c:val>
          <c:smooth val="0"/>
        </c:ser>
        <c:ser>
          <c:idx val="7"/>
          <c:order val="6"/>
          <c:tx>
            <c:strRef>
              <c:f>'[přírůstek.xlsx]1-5a'!$H$3:$J$3</c:f>
              <c:strCache>
                <c:ptCount val="1"/>
                <c:pt idx="0">
                  <c:v>Zemřelí
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dLbls>
            <c:dLbl>
              <c:idx val="26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H$5:$H$101</c:f>
              <c:numCache>
                <c:formatCode>#,##0</c:formatCode>
                <c:ptCount val="97"/>
                <c:pt idx="0">
                  <c:v>177428</c:v>
                </c:pt>
                <c:pt idx="1">
                  <c:v>176562</c:v>
                </c:pt>
                <c:pt idx="2">
                  <c:v>161321</c:v>
                </c:pt>
                <c:pt idx="3">
                  <c:v>163366</c:v>
                </c:pt>
                <c:pt idx="4">
                  <c:v>142335</c:v>
                </c:pt>
                <c:pt idx="5">
                  <c:v>146098</c:v>
                </c:pt>
                <c:pt idx="6">
                  <c:v>146450</c:v>
                </c:pt>
                <c:pt idx="7">
                  <c:v>148298</c:v>
                </c:pt>
                <c:pt idx="8">
                  <c:v>155479</c:v>
                </c:pt>
                <c:pt idx="9">
                  <c:v>147064</c:v>
                </c:pt>
                <c:pt idx="10">
                  <c:v>155493</c:v>
                </c:pt>
                <c:pt idx="11">
                  <c:v>142159</c:v>
                </c:pt>
                <c:pt idx="12">
                  <c:v>144534</c:v>
                </c:pt>
                <c:pt idx="13">
                  <c:v>142997</c:v>
                </c:pt>
                <c:pt idx="14">
                  <c:v>140906</c:v>
                </c:pt>
                <c:pt idx="15">
                  <c:v>135914</c:v>
                </c:pt>
                <c:pt idx="16">
                  <c:v>140878</c:v>
                </c:pt>
                <c:pt idx="17">
                  <c:v>139093</c:v>
                </c:pt>
                <c:pt idx="18">
                  <c:v>139558</c:v>
                </c:pt>
                <c:pt idx="19">
                  <c:v>143115</c:v>
                </c:pt>
                <c:pt idx="20">
                  <c:v>146976</c:v>
                </c:pt>
                <c:pt idx="21">
                  <c:v>153499</c:v>
                </c:pt>
                <c:pt idx="22">
                  <c:v>152048</c:v>
                </c:pt>
                <c:pt idx="23">
                  <c:v>153096</c:v>
                </c:pt>
                <c:pt idx="24">
                  <c:v>153349</c:v>
                </c:pt>
                <c:pt idx="25">
                  <c:v>161457</c:v>
                </c:pt>
                <c:pt idx="26">
                  <c:v>184944</c:v>
                </c:pt>
                <c:pt idx="27">
                  <c:v>134568</c:v>
                </c:pt>
                <c:pt idx="28">
                  <c:v>105277</c:v>
                </c:pt>
                <c:pt idx="29">
                  <c:v>101501</c:v>
                </c:pt>
                <c:pt idx="30">
                  <c:v>104632</c:v>
                </c:pt>
                <c:pt idx="31">
                  <c:v>103203</c:v>
                </c:pt>
                <c:pt idx="32">
                  <c:v>102658</c:v>
                </c:pt>
                <c:pt idx="33">
                  <c:v>97726</c:v>
                </c:pt>
                <c:pt idx="34">
                  <c:v>98837</c:v>
                </c:pt>
                <c:pt idx="35">
                  <c:v>99636</c:v>
                </c:pt>
                <c:pt idx="36">
                  <c:v>93300</c:v>
                </c:pt>
                <c:pt idx="37">
                  <c:v>93526</c:v>
                </c:pt>
                <c:pt idx="38">
                  <c:v>98687</c:v>
                </c:pt>
                <c:pt idx="39">
                  <c:v>93697</c:v>
                </c:pt>
                <c:pt idx="40">
                  <c:v>97159</c:v>
                </c:pt>
                <c:pt idx="41">
                  <c:v>93863</c:v>
                </c:pt>
                <c:pt idx="42">
                  <c:v>94973</c:v>
                </c:pt>
                <c:pt idx="43">
                  <c:v>104318</c:v>
                </c:pt>
                <c:pt idx="44">
                  <c:v>100129</c:v>
                </c:pt>
                <c:pt idx="45">
                  <c:v>101984</c:v>
                </c:pt>
                <c:pt idx="46">
                  <c:v>105108</c:v>
                </c:pt>
                <c:pt idx="47">
                  <c:v>105784</c:v>
                </c:pt>
                <c:pt idx="48">
                  <c:v>108967</c:v>
                </c:pt>
                <c:pt idx="49">
                  <c:v>115195</c:v>
                </c:pt>
                <c:pt idx="50">
                  <c:v>120653</c:v>
                </c:pt>
                <c:pt idx="51">
                  <c:v>123327</c:v>
                </c:pt>
                <c:pt idx="52">
                  <c:v>122375</c:v>
                </c:pt>
                <c:pt idx="53">
                  <c:v>119205</c:v>
                </c:pt>
                <c:pt idx="54">
                  <c:v>124437</c:v>
                </c:pt>
                <c:pt idx="55">
                  <c:v>126809</c:v>
                </c:pt>
                <c:pt idx="56">
                  <c:v>124314</c:v>
                </c:pt>
                <c:pt idx="57">
                  <c:v>125232</c:v>
                </c:pt>
                <c:pt idx="58">
                  <c:v>126214</c:v>
                </c:pt>
                <c:pt idx="59">
                  <c:v>127136</c:v>
                </c:pt>
                <c:pt idx="60">
                  <c:v>127949</c:v>
                </c:pt>
                <c:pt idx="61">
                  <c:v>135537</c:v>
                </c:pt>
                <c:pt idx="62">
                  <c:v>130407</c:v>
                </c:pt>
                <c:pt idx="63">
                  <c:v>130765</c:v>
                </c:pt>
                <c:pt idx="64">
                  <c:v>134474</c:v>
                </c:pt>
                <c:pt idx="65">
                  <c:v>132188</c:v>
                </c:pt>
                <c:pt idx="66">
                  <c:v>131641</c:v>
                </c:pt>
                <c:pt idx="67">
                  <c:v>132585</c:v>
                </c:pt>
                <c:pt idx="68">
                  <c:v>127244</c:v>
                </c:pt>
                <c:pt idx="69">
                  <c:v>125694</c:v>
                </c:pt>
                <c:pt idx="70">
                  <c:v>127747</c:v>
                </c:pt>
                <c:pt idx="71">
                  <c:v>129166</c:v>
                </c:pt>
                <c:pt idx="72">
                  <c:v>124290</c:v>
                </c:pt>
                <c:pt idx="73">
                  <c:v>120337</c:v>
                </c:pt>
                <c:pt idx="74">
                  <c:v>118185</c:v>
                </c:pt>
                <c:pt idx="75">
                  <c:v>117373</c:v>
                </c:pt>
                <c:pt idx="76">
                  <c:v>117913</c:v>
                </c:pt>
                <c:pt idx="77">
                  <c:v>112782</c:v>
                </c:pt>
                <c:pt idx="78">
                  <c:v>112744</c:v>
                </c:pt>
                <c:pt idx="79">
                  <c:v>109527</c:v>
                </c:pt>
                <c:pt idx="80">
                  <c:v>109768</c:v>
                </c:pt>
                <c:pt idx="81">
                  <c:v>109001</c:v>
                </c:pt>
                <c:pt idx="82">
                  <c:v>107755</c:v>
                </c:pt>
                <c:pt idx="83">
                  <c:v>108243</c:v>
                </c:pt>
                <c:pt idx="84">
                  <c:v>111288</c:v>
                </c:pt>
                <c:pt idx="85">
                  <c:v>107177</c:v>
                </c:pt>
                <c:pt idx="86">
                  <c:v>107938</c:v>
                </c:pt>
                <c:pt idx="87">
                  <c:v>104441</c:v>
                </c:pt>
                <c:pt idx="88">
                  <c:v>104636</c:v>
                </c:pt>
                <c:pt idx="89">
                  <c:v>104948</c:v>
                </c:pt>
                <c:pt idx="90">
                  <c:v>107421</c:v>
                </c:pt>
                <c:pt idx="91">
                  <c:v>106844</c:v>
                </c:pt>
                <c:pt idx="92">
                  <c:v>106848</c:v>
                </c:pt>
                <c:pt idx="93">
                  <c:v>108189</c:v>
                </c:pt>
                <c:pt idx="94">
                  <c:v>109160</c:v>
                </c:pt>
                <c:pt idx="95">
                  <c:v>105665</c:v>
                </c:pt>
                <c:pt idx="96">
                  <c:v>111173</c:v>
                </c:pt>
              </c:numCache>
            </c:numRef>
          </c:val>
          <c:smooth val="0"/>
        </c:ser>
        <c:ser>
          <c:idx val="0"/>
          <c:order val="7"/>
          <c:tx>
            <c:strRef>
              <c:f>'[přírůstek.xlsx]1-5a'!$L$4</c:f>
              <c:strCache>
                <c:ptCount val="1"/>
                <c:pt idx="0">
                  <c:v>Přistěhovalí</c:v>
                </c:pt>
              </c:strCache>
            </c:strRef>
          </c:tx>
          <c:spPr>
            <a:ln w="50800">
              <a:prstDash val="sysDot"/>
            </a:ln>
          </c:spPr>
          <c:marker>
            <c:symbol val="none"/>
          </c:marker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L$5:$L$101</c:f>
              <c:numCache>
                <c:formatCode>General</c:formatCode>
                <c:ptCount val="97"/>
                <c:pt idx="35" formatCode="#,##0">
                  <c:v>28269</c:v>
                </c:pt>
                <c:pt idx="36" formatCode="#,##0">
                  <c:v>25484</c:v>
                </c:pt>
                <c:pt idx="37" formatCode="#,##0">
                  <c:v>23972</c:v>
                </c:pt>
                <c:pt idx="38" formatCode="#,##0">
                  <c:v>20665</c:v>
                </c:pt>
                <c:pt idx="39" formatCode="#,##0">
                  <c:v>20175</c:v>
                </c:pt>
                <c:pt idx="40" formatCode="#,##0">
                  <c:v>22209</c:v>
                </c:pt>
                <c:pt idx="41" formatCode="#,##0">
                  <c:v>20010</c:v>
                </c:pt>
                <c:pt idx="42" formatCode="#,##0">
                  <c:v>18599</c:v>
                </c:pt>
                <c:pt idx="43" formatCode="#,##0">
                  <c:v>19225</c:v>
                </c:pt>
                <c:pt idx="44" formatCode="#,##0">
                  <c:v>20797</c:v>
                </c:pt>
                <c:pt idx="45" formatCode="#,##0">
                  <c:v>20139</c:v>
                </c:pt>
                <c:pt idx="46" formatCode="#,##0">
                  <c:v>19377</c:v>
                </c:pt>
                <c:pt idx="47" formatCode="#,##0">
                  <c:v>20504</c:v>
                </c:pt>
                <c:pt idx="48" formatCode="#,##0">
                  <c:v>19895</c:v>
                </c:pt>
                <c:pt idx="49" formatCode="#,##0">
                  <c:v>17741</c:v>
                </c:pt>
                <c:pt idx="50" formatCode="#,##0">
                  <c:v>15717</c:v>
                </c:pt>
                <c:pt idx="51" formatCode="#,##0">
                  <c:v>16531</c:v>
                </c:pt>
                <c:pt idx="52" formatCode="#,##0">
                  <c:v>15232</c:v>
                </c:pt>
                <c:pt idx="53" formatCode="#,##0">
                  <c:v>13743</c:v>
                </c:pt>
                <c:pt idx="54" formatCode="#,##0">
                  <c:v>15698</c:v>
                </c:pt>
                <c:pt idx="55" formatCode="#,##0">
                  <c:v>14162</c:v>
                </c:pt>
                <c:pt idx="56" formatCode="#,##0">
                  <c:v>12835</c:v>
                </c:pt>
                <c:pt idx="57" formatCode="#,##0">
                  <c:v>12921</c:v>
                </c:pt>
                <c:pt idx="58" formatCode="#,##0">
                  <c:v>11408</c:v>
                </c:pt>
                <c:pt idx="59" formatCode="#,##0">
                  <c:v>11583</c:v>
                </c:pt>
                <c:pt idx="60" formatCode="#,##0">
                  <c:v>11336</c:v>
                </c:pt>
                <c:pt idx="61" formatCode="#,##0">
                  <c:v>11401</c:v>
                </c:pt>
                <c:pt idx="62" formatCode="#,##0">
                  <c:v>10851</c:v>
                </c:pt>
                <c:pt idx="63" formatCode="#,##0">
                  <c:v>11076</c:v>
                </c:pt>
                <c:pt idx="64" formatCode="#,##0">
                  <c:v>10745</c:v>
                </c:pt>
                <c:pt idx="65" formatCode="#,##0">
                  <c:v>10699</c:v>
                </c:pt>
                <c:pt idx="66" formatCode="#,##0">
                  <c:v>9918</c:v>
                </c:pt>
                <c:pt idx="67" formatCode="#,##0">
                  <c:v>10712</c:v>
                </c:pt>
                <c:pt idx="68" formatCode="#,##0">
                  <c:v>9934</c:v>
                </c:pt>
                <c:pt idx="69" formatCode="#,##0">
                  <c:v>9984</c:v>
                </c:pt>
                <c:pt idx="70" formatCode="#,##0">
                  <c:v>9400</c:v>
                </c:pt>
                <c:pt idx="71" formatCode="#,##0">
                  <c:v>12411</c:v>
                </c:pt>
                <c:pt idx="72" formatCode="#,##0">
                  <c:v>14096</c:v>
                </c:pt>
                <c:pt idx="73" formatCode="#,##0">
                  <c:v>19072</c:v>
                </c:pt>
                <c:pt idx="74" formatCode="#,##0">
                  <c:v>12900</c:v>
                </c:pt>
                <c:pt idx="75" formatCode="#,##0">
                  <c:v>10207</c:v>
                </c:pt>
                <c:pt idx="76" formatCode="#,##0">
                  <c:v>10540</c:v>
                </c:pt>
                <c:pt idx="77" formatCode="#,##0">
                  <c:v>10857</c:v>
                </c:pt>
                <c:pt idx="78" formatCode="#,##0">
                  <c:v>12880</c:v>
                </c:pt>
                <c:pt idx="79" formatCode="#,##0">
                  <c:v>10729</c:v>
                </c:pt>
                <c:pt idx="80" formatCode="#,##0">
                  <c:v>9910</c:v>
                </c:pt>
                <c:pt idx="81" formatCode="#,##0">
                  <c:v>7802</c:v>
                </c:pt>
                <c:pt idx="82" formatCode="#,##0">
                  <c:v>12918</c:v>
                </c:pt>
                <c:pt idx="83" formatCode="#,##0">
                  <c:v>44679</c:v>
                </c:pt>
                <c:pt idx="84" formatCode="#,##0">
                  <c:v>60015</c:v>
                </c:pt>
                <c:pt idx="85" formatCode="#,##0">
                  <c:v>53453</c:v>
                </c:pt>
                <c:pt idx="86" formatCode="#,##0">
                  <c:v>60294</c:v>
                </c:pt>
                <c:pt idx="87" formatCode="#,##0">
                  <c:v>68183</c:v>
                </c:pt>
                <c:pt idx="88" formatCode="#,##0">
                  <c:v>104445</c:v>
                </c:pt>
                <c:pt idx="89" formatCode="#,##0">
                  <c:v>77817</c:v>
                </c:pt>
                <c:pt idx="90" formatCode="#,##0">
                  <c:v>39973</c:v>
                </c:pt>
                <c:pt idx="91" formatCode="#,##0">
                  <c:v>30515</c:v>
                </c:pt>
                <c:pt idx="92" formatCode="#,##0">
                  <c:v>22590</c:v>
                </c:pt>
                <c:pt idx="93" formatCode="#,##0">
                  <c:v>30298</c:v>
                </c:pt>
                <c:pt idx="94" formatCode="#,##0">
                  <c:v>29579</c:v>
                </c:pt>
                <c:pt idx="95" formatCode="#,##0">
                  <c:v>41625</c:v>
                </c:pt>
                <c:pt idx="96" formatCode="#,##0">
                  <c:v>34922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'[přírůstek.xlsx]1-5a'!$M$4</c:f>
              <c:strCache>
                <c:ptCount val="1"/>
                <c:pt idx="0">
                  <c:v>Vystěhovalí</c:v>
                </c:pt>
              </c:strCache>
            </c:strRef>
          </c:tx>
          <c:spPr>
            <a:ln w="50800">
              <a:solidFill>
                <a:schemeClr val="accent6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'[přírůstek.xlsx]1-5a'!$A$5:$A$101</c:f>
              <c:numCache>
                <c:formatCode>General</c:formatCode>
                <c:ptCount val="97"/>
                <c:pt idx="0">
                  <c:v>1919</c:v>
                </c:pt>
                <c:pt idx="1">
                  <c:v>1920</c:v>
                </c:pt>
                <c:pt idx="2">
                  <c:v>1921</c:v>
                </c:pt>
                <c:pt idx="3">
                  <c:v>1922</c:v>
                </c:pt>
                <c:pt idx="4">
                  <c:v>1923</c:v>
                </c:pt>
                <c:pt idx="5">
                  <c:v>1924</c:v>
                </c:pt>
                <c:pt idx="6">
                  <c:v>1925</c:v>
                </c:pt>
                <c:pt idx="7">
                  <c:v>1926</c:v>
                </c:pt>
                <c:pt idx="8">
                  <c:v>1927</c:v>
                </c:pt>
                <c:pt idx="9">
                  <c:v>1928</c:v>
                </c:pt>
                <c:pt idx="10">
                  <c:v>1929</c:v>
                </c:pt>
                <c:pt idx="11">
                  <c:v>1930</c:v>
                </c:pt>
                <c:pt idx="12">
                  <c:v>1931</c:v>
                </c:pt>
                <c:pt idx="13">
                  <c:v>1932</c:v>
                </c:pt>
                <c:pt idx="14">
                  <c:v>1933</c:v>
                </c:pt>
                <c:pt idx="15">
                  <c:v>1934</c:v>
                </c:pt>
                <c:pt idx="16">
                  <c:v>1935</c:v>
                </c:pt>
                <c:pt idx="17">
                  <c:v>1936</c:v>
                </c:pt>
                <c:pt idx="18">
                  <c:v>1937</c:v>
                </c:pt>
                <c:pt idx="19">
                  <c:v>1938</c:v>
                </c:pt>
                <c:pt idx="20">
                  <c:v>1939</c:v>
                </c:pt>
                <c:pt idx="21">
                  <c:v>1940</c:v>
                </c:pt>
                <c:pt idx="22">
                  <c:v>1941</c:v>
                </c:pt>
                <c:pt idx="23">
                  <c:v>1942</c:v>
                </c:pt>
                <c:pt idx="24">
                  <c:v>1943</c:v>
                </c:pt>
                <c:pt idx="25">
                  <c:v>1944</c:v>
                </c:pt>
                <c:pt idx="26">
                  <c:v>1945</c:v>
                </c:pt>
                <c:pt idx="27">
                  <c:v>1946</c:v>
                </c:pt>
                <c:pt idx="28">
                  <c:v>1947</c:v>
                </c:pt>
                <c:pt idx="29">
                  <c:v>1948</c:v>
                </c:pt>
                <c:pt idx="30">
                  <c:v>1949</c:v>
                </c:pt>
                <c:pt idx="31">
                  <c:v>1950</c:v>
                </c:pt>
                <c:pt idx="32">
                  <c:v>1951</c:v>
                </c:pt>
                <c:pt idx="33">
                  <c:v>1952</c:v>
                </c:pt>
                <c:pt idx="34">
                  <c:v>1953</c:v>
                </c:pt>
                <c:pt idx="35">
                  <c:v>1954</c:v>
                </c:pt>
                <c:pt idx="36">
                  <c:v>1955</c:v>
                </c:pt>
                <c:pt idx="37">
                  <c:v>1956</c:v>
                </c:pt>
                <c:pt idx="38">
                  <c:v>1957</c:v>
                </c:pt>
                <c:pt idx="39">
                  <c:v>1958</c:v>
                </c:pt>
                <c:pt idx="40">
                  <c:v>1959</c:v>
                </c:pt>
                <c:pt idx="41">
                  <c:v>1960</c:v>
                </c:pt>
                <c:pt idx="42">
                  <c:v>1961</c:v>
                </c:pt>
                <c:pt idx="43">
                  <c:v>1962</c:v>
                </c:pt>
                <c:pt idx="44">
                  <c:v>1963</c:v>
                </c:pt>
                <c:pt idx="45">
                  <c:v>1964</c:v>
                </c:pt>
                <c:pt idx="46">
                  <c:v>1965</c:v>
                </c:pt>
                <c:pt idx="47">
                  <c:v>1966</c:v>
                </c:pt>
                <c:pt idx="48">
                  <c:v>1967</c:v>
                </c:pt>
                <c:pt idx="49">
                  <c:v>1968</c:v>
                </c:pt>
                <c:pt idx="50">
                  <c:v>1969</c:v>
                </c:pt>
                <c:pt idx="51">
                  <c:v>1970</c:v>
                </c:pt>
                <c:pt idx="52">
                  <c:v>1971</c:v>
                </c:pt>
                <c:pt idx="53">
                  <c:v>1972</c:v>
                </c:pt>
                <c:pt idx="54">
                  <c:v>1973</c:v>
                </c:pt>
                <c:pt idx="55">
                  <c:v>1974</c:v>
                </c:pt>
                <c:pt idx="56">
                  <c:v>1975</c:v>
                </c:pt>
                <c:pt idx="57">
                  <c:v>1976</c:v>
                </c:pt>
                <c:pt idx="58">
                  <c:v>1977</c:v>
                </c:pt>
                <c:pt idx="59">
                  <c:v>1978</c:v>
                </c:pt>
                <c:pt idx="60">
                  <c:v>1979</c:v>
                </c:pt>
                <c:pt idx="61">
                  <c:v>1980</c:v>
                </c:pt>
                <c:pt idx="62">
                  <c:v>1981</c:v>
                </c:pt>
                <c:pt idx="63">
                  <c:v>1982</c:v>
                </c:pt>
                <c:pt idx="64">
                  <c:v>1983</c:v>
                </c:pt>
                <c:pt idx="65">
                  <c:v>1984</c:v>
                </c:pt>
                <c:pt idx="66">
                  <c:v>1985</c:v>
                </c:pt>
                <c:pt idx="67">
                  <c:v>1986</c:v>
                </c:pt>
                <c:pt idx="68">
                  <c:v>1987</c:v>
                </c:pt>
                <c:pt idx="69">
                  <c:v>1988</c:v>
                </c:pt>
                <c:pt idx="70">
                  <c:v>1989</c:v>
                </c:pt>
                <c:pt idx="71">
                  <c:v>1990</c:v>
                </c:pt>
                <c:pt idx="72">
                  <c:v>1991</c:v>
                </c:pt>
                <c:pt idx="73">
                  <c:v>1992</c:v>
                </c:pt>
                <c:pt idx="74">
                  <c:v>1993</c:v>
                </c:pt>
                <c:pt idx="75">
                  <c:v>1994</c:v>
                </c:pt>
                <c:pt idx="76">
                  <c:v>1995</c:v>
                </c:pt>
                <c:pt idx="77">
                  <c:v>1996</c:v>
                </c:pt>
                <c:pt idx="78">
                  <c:v>1997</c:v>
                </c:pt>
                <c:pt idx="79">
                  <c:v>1998</c:v>
                </c:pt>
                <c:pt idx="80">
                  <c:v>1999</c:v>
                </c:pt>
                <c:pt idx="81">
                  <c:v>2000</c:v>
                </c:pt>
                <c:pt idx="82">
                  <c:v>2001</c:v>
                </c:pt>
                <c:pt idx="83">
                  <c:v>2002</c:v>
                </c:pt>
                <c:pt idx="84">
                  <c:v>2003</c:v>
                </c:pt>
                <c:pt idx="85">
                  <c:v>2004</c:v>
                </c:pt>
                <c:pt idx="86">
                  <c:v>2005</c:v>
                </c:pt>
                <c:pt idx="87">
                  <c:v>2006</c:v>
                </c:pt>
                <c:pt idx="88">
                  <c:v>2007</c:v>
                </c:pt>
                <c:pt idx="89">
                  <c:v>2008</c:v>
                </c:pt>
                <c:pt idx="90">
                  <c:v>2009</c:v>
                </c:pt>
                <c:pt idx="91">
                  <c:v>2010</c:v>
                </c:pt>
                <c:pt idx="92">
                  <c:v>2011</c:v>
                </c:pt>
                <c:pt idx="93">
                  <c:v>2012</c:v>
                </c:pt>
                <c:pt idx="94">
                  <c:v>2013</c:v>
                </c:pt>
                <c:pt idx="95">
                  <c:v>2014</c:v>
                </c:pt>
                <c:pt idx="96">
                  <c:v>2015</c:v>
                </c:pt>
              </c:numCache>
            </c:numRef>
          </c:cat>
          <c:val>
            <c:numRef>
              <c:f>'[přírůstek.xlsx]1-5a'!$M$5:$M$101</c:f>
              <c:numCache>
                <c:formatCode>General</c:formatCode>
                <c:ptCount val="97"/>
                <c:pt idx="35" formatCode="#,##0">
                  <c:v>30645</c:v>
                </c:pt>
                <c:pt idx="36" formatCode="#,##0">
                  <c:v>22047</c:v>
                </c:pt>
                <c:pt idx="37" formatCode="#,##0">
                  <c:v>17796</c:v>
                </c:pt>
                <c:pt idx="38" formatCode="#,##0">
                  <c:v>13833</c:v>
                </c:pt>
                <c:pt idx="39" formatCode="#,##0">
                  <c:v>14057</c:v>
                </c:pt>
                <c:pt idx="40" formatCode="#,##0">
                  <c:v>14155</c:v>
                </c:pt>
                <c:pt idx="41" formatCode="#,##0">
                  <c:v>13489</c:v>
                </c:pt>
                <c:pt idx="42" formatCode="#,##0">
                  <c:v>13688</c:v>
                </c:pt>
                <c:pt idx="43" formatCode="#,##0">
                  <c:v>13402</c:v>
                </c:pt>
                <c:pt idx="44" formatCode="#,##0">
                  <c:v>12520</c:v>
                </c:pt>
                <c:pt idx="45" formatCode="#,##0">
                  <c:v>15325</c:v>
                </c:pt>
                <c:pt idx="46" formatCode="#,##0">
                  <c:v>15849</c:v>
                </c:pt>
                <c:pt idx="47" formatCode="#,##0">
                  <c:v>18377</c:v>
                </c:pt>
                <c:pt idx="48" formatCode="#,##0">
                  <c:v>23162</c:v>
                </c:pt>
                <c:pt idx="49" formatCode="#,##0">
                  <c:v>19303</c:v>
                </c:pt>
                <c:pt idx="50" formatCode="#,##0">
                  <c:v>18441</c:v>
                </c:pt>
                <c:pt idx="51" formatCode="#,##0">
                  <c:v>20881</c:v>
                </c:pt>
                <c:pt idx="52" formatCode="#,##0">
                  <c:v>12742</c:v>
                </c:pt>
                <c:pt idx="53" formatCode="#,##0">
                  <c:v>10859</c:v>
                </c:pt>
                <c:pt idx="54" formatCode="#,##0">
                  <c:v>11083</c:v>
                </c:pt>
                <c:pt idx="55" formatCode="#,##0">
                  <c:v>11110</c:v>
                </c:pt>
                <c:pt idx="56" formatCode="#,##0">
                  <c:v>10434</c:v>
                </c:pt>
                <c:pt idx="57" formatCode="#,##0">
                  <c:v>10291</c:v>
                </c:pt>
                <c:pt idx="58" formatCode="#,##0">
                  <c:v>10101</c:v>
                </c:pt>
                <c:pt idx="59" formatCode="#,##0">
                  <c:v>9519</c:v>
                </c:pt>
                <c:pt idx="60" formatCode="#,##0">
                  <c:v>8842</c:v>
                </c:pt>
                <c:pt idx="61" formatCode="#,##0">
                  <c:v>9545</c:v>
                </c:pt>
                <c:pt idx="62" formatCode="#,##0">
                  <c:v>9134</c:v>
                </c:pt>
                <c:pt idx="63" formatCode="#,##0">
                  <c:v>9328</c:v>
                </c:pt>
                <c:pt idx="64" formatCode="#,##0">
                  <c:v>8362</c:v>
                </c:pt>
                <c:pt idx="65" formatCode="#,##0">
                  <c:v>8078</c:v>
                </c:pt>
                <c:pt idx="66" formatCode="#,##0">
                  <c:v>7723</c:v>
                </c:pt>
                <c:pt idx="67" formatCode="#,##0">
                  <c:v>7699</c:v>
                </c:pt>
                <c:pt idx="68" formatCode="#,##0">
                  <c:v>7213</c:v>
                </c:pt>
                <c:pt idx="69" formatCode="#,##0">
                  <c:v>7440</c:v>
                </c:pt>
                <c:pt idx="70" formatCode="#,##0">
                  <c:v>7941</c:v>
                </c:pt>
                <c:pt idx="71" formatCode="#,##0">
                  <c:v>11787</c:v>
                </c:pt>
                <c:pt idx="72" formatCode="#,##0">
                  <c:v>11220</c:v>
                </c:pt>
                <c:pt idx="73" formatCode="#,##0">
                  <c:v>7291</c:v>
                </c:pt>
                <c:pt idx="74" formatCode="#,##0">
                  <c:v>7424</c:v>
                </c:pt>
                <c:pt idx="75" formatCode="#,##0">
                  <c:v>265</c:v>
                </c:pt>
                <c:pt idx="76" formatCode="#,##0">
                  <c:v>541</c:v>
                </c:pt>
                <c:pt idx="77" formatCode="#,##0">
                  <c:v>728</c:v>
                </c:pt>
                <c:pt idx="78" formatCode="#,##0">
                  <c:v>805</c:v>
                </c:pt>
                <c:pt idx="79" formatCode="#,##0">
                  <c:v>1241</c:v>
                </c:pt>
                <c:pt idx="80" formatCode="#,##0">
                  <c:v>1136</c:v>
                </c:pt>
                <c:pt idx="81" formatCode="#,##0">
                  <c:v>1263</c:v>
                </c:pt>
                <c:pt idx="82" formatCode="#,##0">
                  <c:v>21469</c:v>
                </c:pt>
                <c:pt idx="83" formatCode="#,##0">
                  <c:v>32389</c:v>
                </c:pt>
                <c:pt idx="84" formatCode="#,##0">
                  <c:v>34226</c:v>
                </c:pt>
                <c:pt idx="85" formatCode="#,##0">
                  <c:v>34818</c:v>
                </c:pt>
                <c:pt idx="86" formatCode="#,##0">
                  <c:v>24065</c:v>
                </c:pt>
                <c:pt idx="87" formatCode="#,##0">
                  <c:v>33463</c:v>
                </c:pt>
                <c:pt idx="88" formatCode="#,##0">
                  <c:v>20500</c:v>
                </c:pt>
                <c:pt idx="89" formatCode="#,##0">
                  <c:v>6027</c:v>
                </c:pt>
                <c:pt idx="90" formatCode="#,##0">
                  <c:v>11629</c:v>
                </c:pt>
                <c:pt idx="91" formatCode="#,##0">
                  <c:v>14867</c:v>
                </c:pt>
                <c:pt idx="92" formatCode="#,##0">
                  <c:v>5701</c:v>
                </c:pt>
                <c:pt idx="93" formatCode="#,##0">
                  <c:v>20005</c:v>
                </c:pt>
                <c:pt idx="94" formatCode="#,##0">
                  <c:v>30876</c:v>
                </c:pt>
                <c:pt idx="95" formatCode="#,##0">
                  <c:v>19964</c:v>
                </c:pt>
                <c:pt idx="96" formatCode="#,##0">
                  <c:v>189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631744"/>
        <c:axId val="25658880"/>
      </c:lineChart>
      <c:catAx>
        <c:axId val="256317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Věk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5658880"/>
        <c:crosses val="autoZero"/>
        <c:auto val="1"/>
        <c:lblAlgn val="ctr"/>
        <c:lblOffset val="100"/>
        <c:noMultiLvlLbl val="0"/>
      </c:catAx>
      <c:valAx>
        <c:axId val="25658880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cs-CZ"/>
                  <a:t>Počet osob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2220934723831595E-2"/>
              <c:y val="0.37162492036421196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crossAx val="25631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4904541625228485"/>
          <c:y val="0.14148371250351036"/>
          <c:w val="0.33550460306019103"/>
          <c:h val="0.23172427079889746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4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/>
              <a:t>Děti 0 - 14 let: minulost, současnost</a:t>
            </a:r>
            <a:r>
              <a:rPr lang="cs-CZ" baseline="0"/>
              <a:t> a projekce</a:t>
            </a:r>
            <a:endParaRPr lang="en-US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celkem!$B$2</c:f>
              <c:strCache>
                <c:ptCount val="1"/>
                <c:pt idx="0">
                  <c:v>0-14 le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Lbls>
            <c:numFmt formatCode="#,##0" sourceLinked="0"/>
            <c:spPr>
              <a:solidFill>
                <a:sysClr val="window" lastClr="FFFFFF"/>
              </a:solidFill>
            </c:spPr>
            <c:txPr>
              <a:bodyPr/>
              <a:lstStyle/>
              <a:p>
                <a:pPr>
                  <a:defRPr b="1"/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celkem!$A$3:$A$13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20</c:v>
                </c:pt>
                <c:pt idx="6">
                  <c:v>2030</c:v>
                </c:pt>
                <c:pt idx="7">
                  <c:v>2040</c:v>
                </c:pt>
                <c:pt idx="8">
                  <c:v>2050</c:v>
                </c:pt>
                <c:pt idx="9">
                  <c:v>2060</c:v>
                </c:pt>
                <c:pt idx="10">
                  <c:v>2066</c:v>
                </c:pt>
              </c:numCache>
            </c:numRef>
          </c:cat>
          <c:val>
            <c:numRef>
              <c:f>celkem!$B$3:$B$13</c:f>
              <c:numCache>
                <c:formatCode>General</c:formatCode>
                <c:ptCount val="11"/>
                <c:pt idx="0">
                  <c:v>1560296</c:v>
                </c:pt>
                <c:pt idx="1">
                  <c:v>1577455</c:v>
                </c:pt>
                <c:pt idx="2">
                  <c:v>1601045</c:v>
                </c:pt>
                <c:pt idx="3">
                  <c:v>1623716</c:v>
                </c:pt>
                <c:pt idx="4">
                  <c:v>1647275</c:v>
                </c:pt>
                <c:pt idx="5">
                  <c:v>1682797</c:v>
                </c:pt>
                <c:pt idx="6">
                  <c:v>1509161</c:v>
                </c:pt>
                <c:pt idx="7">
                  <c:v>1398991</c:v>
                </c:pt>
                <c:pt idx="8">
                  <c:v>1500915</c:v>
                </c:pt>
                <c:pt idx="9">
                  <c:v>1460710</c:v>
                </c:pt>
                <c:pt idx="10">
                  <c:v>14041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854656"/>
        <c:axId val="82856192"/>
      </c:barChart>
      <c:catAx>
        <c:axId val="82854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cs-CZ"/>
          </a:p>
        </c:txPr>
        <c:crossAx val="82856192"/>
        <c:crosses val="autoZero"/>
        <c:auto val="1"/>
        <c:lblAlgn val="ctr"/>
        <c:lblOffset val="100"/>
        <c:noMultiLvlLbl val="0"/>
      </c:catAx>
      <c:valAx>
        <c:axId val="82856192"/>
        <c:scaling>
          <c:orientation val="minMax"/>
          <c:min val="0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crossAx val="82854656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/>
    </a:solidFill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400"/>
            </a:pPr>
            <a:r>
              <a:rPr lang="cs-CZ" sz="2400"/>
              <a:t>Žádosti o umístění do MŠ podle kraje (2015/2016)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List6!$B$3</c:f>
              <c:strCache>
                <c:ptCount val="1"/>
                <c:pt idx="0">
                  <c:v>žádosti, kterým bylo vyhověno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05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List6!$A$4:$A$16</c:f>
              <c:strCache>
                <c:ptCount val="13"/>
                <c:pt idx="0">
                  <c:v>Hlavní město Prah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Liberecký kraj</c:v>
                </c:pt>
                <c:pt idx="4">
                  <c:v>Plzeňský kraj</c:v>
                </c:pt>
                <c:pt idx="5">
                  <c:v>Zlínský kraj</c:v>
                </c:pt>
                <c:pt idx="6">
                  <c:v>Olomoucký kraj</c:v>
                </c:pt>
                <c:pt idx="7">
                  <c:v>Jihočeský kraj</c:v>
                </c:pt>
                <c:pt idx="8">
                  <c:v>Pardubic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Kraj Vysočina</c:v>
                </c:pt>
              </c:strCache>
            </c:strRef>
          </c:cat>
          <c:val>
            <c:numRef>
              <c:f>List6!$B$4:$B$16</c:f>
              <c:numCache>
                <c:formatCode>General</c:formatCode>
                <c:ptCount val="13"/>
                <c:pt idx="0">
                  <c:v>15740</c:v>
                </c:pt>
                <c:pt idx="1">
                  <c:v>14885</c:v>
                </c:pt>
                <c:pt idx="2">
                  <c:v>18828</c:v>
                </c:pt>
                <c:pt idx="3">
                  <c:v>5315</c:v>
                </c:pt>
                <c:pt idx="4">
                  <c:v>6345</c:v>
                </c:pt>
                <c:pt idx="5">
                  <c:v>6580</c:v>
                </c:pt>
                <c:pt idx="6">
                  <c:v>7385</c:v>
                </c:pt>
                <c:pt idx="7">
                  <c:v>7426</c:v>
                </c:pt>
                <c:pt idx="8">
                  <c:v>6036</c:v>
                </c:pt>
                <c:pt idx="9">
                  <c:v>6535</c:v>
                </c:pt>
                <c:pt idx="10">
                  <c:v>8665</c:v>
                </c:pt>
                <c:pt idx="11">
                  <c:v>13653</c:v>
                </c:pt>
                <c:pt idx="12">
                  <c:v>5854</c:v>
                </c:pt>
              </c:numCache>
            </c:numRef>
          </c:val>
        </c:ser>
        <c:ser>
          <c:idx val="2"/>
          <c:order val="1"/>
          <c:tx>
            <c:strRef>
              <c:f>List6!$C$3</c:f>
              <c:strCache>
                <c:ptCount val="1"/>
                <c:pt idx="0">
                  <c:v>žádosti, kt. nebylo vyhověno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List6!$A$4:$A$16</c:f>
              <c:strCache>
                <c:ptCount val="13"/>
                <c:pt idx="0">
                  <c:v>Hlavní město Praha</c:v>
                </c:pt>
                <c:pt idx="1">
                  <c:v>Jihomoravský kraj</c:v>
                </c:pt>
                <c:pt idx="2">
                  <c:v>Středočeský kraj</c:v>
                </c:pt>
                <c:pt idx="3">
                  <c:v>Liberecký kraj</c:v>
                </c:pt>
                <c:pt idx="4">
                  <c:v>Plzeňský kraj</c:v>
                </c:pt>
                <c:pt idx="5">
                  <c:v>Zlínský kraj</c:v>
                </c:pt>
                <c:pt idx="6">
                  <c:v>Olomoucký kraj</c:v>
                </c:pt>
                <c:pt idx="7">
                  <c:v>Jihočeský kraj</c:v>
                </c:pt>
                <c:pt idx="8">
                  <c:v>Pardubický kraj</c:v>
                </c:pt>
                <c:pt idx="9">
                  <c:v>Královéhradecký kraj</c:v>
                </c:pt>
                <c:pt idx="10">
                  <c:v>Ústecký kraj</c:v>
                </c:pt>
                <c:pt idx="11">
                  <c:v>Moravskoslezský kraj</c:v>
                </c:pt>
                <c:pt idx="12">
                  <c:v>Kraj Vysočina</c:v>
                </c:pt>
              </c:strCache>
            </c:strRef>
          </c:cat>
          <c:val>
            <c:numRef>
              <c:f>List6!$C$4:$C$16</c:f>
              <c:numCache>
                <c:formatCode>General</c:formatCode>
                <c:ptCount val="13"/>
                <c:pt idx="0">
                  <c:v>10077</c:v>
                </c:pt>
                <c:pt idx="1">
                  <c:v>9007</c:v>
                </c:pt>
                <c:pt idx="2">
                  <c:v>8632</c:v>
                </c:pt>
                <c:pt idx="3">
                  <c:v>1553</c:v>
                </c:pt>
                <c:pt idx="4">
                  <c:v>1741</c:v>
                </c:pt>
                <c:pt idx="5">
                  <c:v>1476</c:v>
                </c:pt>
                <c:pt idx="6">
                  <c:v>1552</c:v>
                </c:pt>
                <c:pt idx="7">
                  <c:v>1416</c:v>
                </c:pt>
                <c:pt idx="8">
                  <c:v>1072</c:v>
                </c:pt>
                <c:pt idx="9">
                  <c:v>1057</c:v>
                </c:pt>
                <c:pt idx="10">
                  <c:v>1293</c:v>
                </c:pt>
                <c:pt idx="11">
                  <c:v>1542</c:v>
                </c:pt>
                <c:pt idx="12">
                  <c:v>4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2269056"/>
        <c:axId val="32672384"/>
      </c:barChart>
      <c:catAx>
        <c:axId val="32269056"/>
        <c:scaling>
          <c:orientation val="minMax"/>
        </c:scaling>
        <c:delete val="0"/>
        <c:axPos val="b"/>
        <c:majorTickMark val="none"/>
        <c:minorTickMark val="none"/>
        <c:tickLblPos val="nextTo"/>
        <c:crossAx val="32672384"/>
        <c:crosses val="autoZero"/>
        <c:auto val="1"/>
        <c:lblAlgn val="ctr"/>
        <c:lblOffset val="100"/>
        <c:noMultiLvlLbl val="0"/>
      </c:catAx>
      <c:valAx>
        <c:axId val="326723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22690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308732106208449"/>
          <c:y val="0.11239626004693339"/>
          <c:w val="0.6982752766156467"/>
          <c:h val="6.5770108175730368E-2"/>
        </c:manualLayout>
      </c:layout>
      <c:overlay val="0"/>
      <c:txPr>
        <a:bodyPr/>
        <a:lstStyle/>
        <a:p>
          <a:pPr>
            <a:defRPr sz="1600" b="1"/>
          </a:pPr>
          <a:endParaRPr lang="cs-CZ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546</cdr:x>
      <cdr:y>0.16199</cdr:y>
    </cdr:from>
    <cdr:to>
      <cdr:x>0.23352</cdr:x>
      <cdr:y>0.19626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144780" y="792480"/>
          <a:ext cx="2042160" cy="1676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/>
        </a:p>
      </cdr:txBody>
    </cdr:sp>
  </cdr:relSizeAnchor>
  <cdr:relSizeAnchor xmlns:cdr="http://schemas.openxmlformats.org/drawingml/2006/chartDrawing">
    <cdr:from>
      <cdr:x>0.01465</cdr:x>
      <cdr:y>0.11994</cdr:y>
    </cdr:from>
    <cdr:to>
      <cdr:x>0.24491</cdr:x>
      <cdr:y>0.17445</cdr:y>
    </cdr:to>
    <cdr:sp macro="" textlink="">
      <cdr:nvSpPr>
        <cdr:cNvPr id="3" name="TextovéPole 2"/>
        <cdr:cNvSpPr txBox="1"/>
      </cdr:nvSpPr>
      <cdr:spPr>
        <a:xfrm xmlns:a="http://schemas.openxmlformats.org/drawingml/2006/main">
          <a:off x="137160" y="586740"/>
          <a:ext cx="2156460" cy="266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900" i="1"/>
            <a:t>http://toiler.uiv.cz/rocenka/rocenka.asp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7D1E8C-3D0E-473D-98B2-723A7C213FC7}" type="datetimeFigureOut">
              <a:rPr lang="cs-CZ" smtClean="0"/>
              <a:pPr/>
              <a:t>5.6.2017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52B9F7-5A77-4291-A253-962B34F8E73F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318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BF9237-C9AA-4377-80F7-12D6CC9097FC}" type="datetimeFigureOut">
              <a:rPr lang="cs-CZ" smtClean="0"/>
              <a:pPr/>
              <a:t>5.6.2017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4EBF0E-3B15-49B5-9805-455AD77384A3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078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2013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6534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7200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781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610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9744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2641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66686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60183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BF0E-3B15-49B5-9805-455AD77384A3}" type="slidenum">
              <a:rPr lang="cs-CZ" smtClean="0"/>
              <a:pPr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4172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7570" y="766110"/>
            <a:ext cx="6746692" cy="3465548"/>
          </a:xfrm>
        </p:spPr>
        <p:txBody>
          <a:bodyPr anchor="b"/>
          <a:lstStyle>
            <a:lvl1pPr algn="l">
              <a:defRPr b="0" i="0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7570" y="4423800"/>
            <a:ext cx="6746692" cy="1752600"/>
          </a:xfrm>
        </p:spPr>
        <p:txBody>
          <a:bodyPr/>
          <a:lstStyle>
            <a:lvl1pPr marL="0" indent="0" algn="l">
              <a:buNone/>
              <a:defRPr b="0" i="0">
                <a:solidFill>
                  <a:schemeClr val="tx1">
                    <a:tint val="75000"/>
                  </a:schemeClr>
                </a:solidFill>
                <a:latin typeface="Calibri Light"/>
                <a:cs typeface="Calibri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cs-CZ" dirty="0"/>
          </a:p>
        </p:txBody>
      </p:sp>
      <p:sp>
        <p:nvSpPr>
          <p:cNvPr id="7" name="Rectangle 6"/>
          <p:cNvSpPr/>
          <p:nvPr/>
        </p:nvSpPr>
        <p:spPr>
          <a:xfrm>
            <a:off x="0" y="4312299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0001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262" y="274639"/>
            <a:ext cx="6893001" cy="1143000"/>
          </a:xfrm>
        </p:spPr>
        <p:txBody>
          <a:bodyPr anchor="b"/>
          <a:lstStyle>
            <a:lvl1pPr algn="l">
              <a:defRPr b="0" i="0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262" y="1600201"/>
            <a:ext cx="8525539" cy="5121275"/>
          </a:xfrm>
        </p:spPr>
        <p:txBody>
          <a:bodyPr/>
          <a:lstStyle>
            <a:lvl1pPr>
              <a:defRPr b="0" i="0">
                <a:latin typeface="Calibri Light"/>
                <a:cs typeface="Calibri Light"/>
              </a:defRPr>
            </a:lvl1pPr>
            <a:lvl2pPr>
              <a:defRPr b="0" i="0">
                <a:latin typeface="Calibri Light"/>
                <a:cs typeface="Calibri Light"/>
              </a:defRPr>
            </a:lvl2pPr>
            <a:lvl3pPr>
              <a:defRPr b="0" i="0">
                <a:latin typeface="Calibri Light"/>
                <a:cs typeface="Calibri Light"/>
              </a:defRPr>
            </a:lvl3pPr>
            <a:lvl4pPr>
              <a:defRPr b="0" i="0">
                <a:latin typeface="Calibri Light"/>
                <a:cs typeface="Calibri Light"/>
              </a:defRPr>
            </a:lvl4pPr>
            <a:lvl5pPr>
              <a:defRPr b="0" i="0">
                <a:latin typeface="Calibri Light"/>
                <a:cs typeface="Calibri Light"/>
              </a:defRPr>
            </a:lvl5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7" name="Rectangle 6"/>
          <p:cNvSpPr/>
          <p:nvPr/>
        </p:nvSpPr>
        <p:spPr>
          <a:xfrm>
            <a:off x="0" y="1370363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Picture 7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5" y="6243460"/>
            <a:ext cx="1330554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318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9106" y="4514421"/>
            <a:ext cx="6394896" cy="2192369"/>
          </a:xfrm>
        </p:spPr>
        <p:txBody>
          <a:bodyPr anchor="t"/>
          <a:lstStyle>
            <a:lvl1pPr algn="l">
              <a:defRPr sz="4000" b="0" i="0" cap="all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09106" y="2839513"/>
            <a:ext cx="6394896" cy="1500187"/>
          </a:xfrm>
        </p:spPr>
        <p:txBody>
          <a:bodyPr anchor="b"/>
          <a:lstStyle>
            <a:lvl1pPr marL="0" indent="0"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Calibri Light"/>
                <a:cs typeface="Calibri Ligh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Rectangle 6"/>
          <p:cNvSpPr/>
          <p:nvPr/>
        </p:nvSpPr>
        <p:spPr>
          <a:xfrm>
            <a:off x="2099817" y="4432787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Picture 4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952" y="276817"/>
            <a:ext cx="898505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23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420" y="274639"/>
            <a:ext cx="6872843" cy="1143000"/>
          </a:xfrm>
        </p:spPr>
        <p:txBody>
          <a:bodyPr anchor="b"/>
          <a:lstStyle>
            <a:lvl1pPr algn="l">
              <a:defRPr b="0" i="0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1420" y="1576470"/>
            <a:ext cx="4314381" cy="5281529"/>
          </a:xfrm>
        </p:spPr>
        <p:txBody>
          <a:bodyPr/>
          <a:lstStyle>
            <a:lvl1pPr>
              <a:defRPr sz="2800" b="0" i="0">
                <a:latin typeface="Calibri Light"/>
                <a:cs typeface="Calibri Light"/>
              </a:defRPr>
            </a:lvl1pPr>
            <a:lvl2pPr>
              <a:defRPr sz="2400" b="0" i="0">
                <a:latin typeface="Calibri Light"/>
                <a:cs typeface="Calibri Light"/>
              </a:defRPr>
            </a:lvl2pPr>
            <a:lvl3pPr>
              <a:defRPr sz="2000" b="0" i="0">
                <a:latin typeface="Calibri Light"/>
                <a:cs typeface="Calibri Light"/>
              </a:defRPr>
            </a:lvl3pPr>
            <a:lvl4pPr>
              <a:defRPr sz="1800" b="0" i="0">
                <a:latin typeface="Calibri Light"/>
                <a:cs typeface="Calibri Light"/>
              </a:defRPr>
            </a:lvl4pPr>
            <a:lvl5pPr>
              <a:defRPr sz="1800" b="0" i="0">
                <a:latin typeface="Calibri Light"/>
                <a:cs typeface="Calibri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76471"/>
            <a:ext cx="4332019" cy="5281528"/>
          </a:xfrm>
        </p:spPr>
        <p:txBody>
          <a:bodyPr/>
          <a:lstStyle>
            <a:lvl1pPr>
              <a:defRPr sz="2800" b="0" i="0">
                <a:latin typeface="Calibri Light"/>
                <a:cs typeface="Calibri Light"/>
              </a:defRPr>
            </a:lvl1pPr>
            <a:lvl2pPr>
              <a:defRPr sz="2400" b="0" i="0">
                <a:latin typeface="Calibri Light"/>
                <a:cs typeface="Calibri Light"/>
              </a:defRPr>
            </a:lvl2pPr>
            <a:lvl3pPr>
              <a:defRPr sz="2000" b="0" i="0">
                <a:latin typeface="Calibri Light"/>
                <a:cs typeface="Calibri Light"/>
              </a:defRPr>
            </a:lvl3pPr>
            <a:lvl4pPr>
              <a:defRPr sz="1800" b="0" i="0">
                <a:latin typeface="Calibri Light"/>
                <a:cs typeface="Calibri Light"/>
              </a:defRPr>
            </a:lvl4pPr>
            <a:lvl5pPr>
              <a:defRPr sz="1800" b="0" i="0">
                <a:latin typeface="Calibri Light"/>
                <a:cs typeface="Calibri 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8" name="Rectangle 7"/>
          <p:cNvSpPr/>
          <p:nvPr/>
        </p:nvSpPr>
        <p:spPr>
          <a:xfrm>
            <a:off x="0" y="1370363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Picture 8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3" y="6243460"/>
            <a:ext cx="898505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016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498" y="274639"/>
            <a:ext cx="6862765" cy="1143000"/>
          </a:xfrm>
        </p:spPr>
        <p:txBody>
          <a:bodyPr anchor="b"/>
          <a:lstStyle>
            <a:lvl1pPr algn="l">
              <a:defRPr b="0" i="0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1498" y="1535113"/>
            <a:ext cx="4305891" cy="639763"/>
          </a:xfrm>
        </p:spPr>
        <p:txBody>
          <a:bodyPr anchor="b"/>
          <a:lstStyle>
            <a:lvl1pPr marL="0" indent="0">
              <a:buNone/>
              <a:defRPr sz="2400" b="0" i="0">
                <a:latin typeface="Calibri Light"/>
                <a:cs typeface="Calibri Ligh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1498" y="2174874"/>
            <a:ext cx="4305891" cy="4491599"/>
          </a:xfrm>
        </p:spPr>
        <p:txBody>
          <a:bodyPr/>
          <a:lstStyle>
            <a:lvl1pPr>
              <a:defRPr sz="2400" b="0" i="0">
                <a:latin typeface="Calibri Light"/>
                <a:cs typeface="Calibri Light"/>
              </a:defRPr>
            </a:lvl1pPr>
            <a:lvl2pPr>
              <a:defRPr sz="2000" b="0" i="0">
                <a:latin typeface="Calibri Light"/>
                <a:cs typeface="Calibri Light"/>
              </a:defRPr>
            </a:lvl2pPr>
            <a:lvl3pPr>
              <a:defRPr sz="1800" b="0" i="0">
                <a:latin typeface="Calibri Light"/>
                <a:cs typeface="Calibri Light"/>
              </a:defRPr>
            </a:lvl3pPr>
            <a:lvl4pPr>
              <a:defRPr sz="1600" b="0" i="0">
                <a:latin typeface="Calibri Light"/>
                <a:cs typeface="Calibri Light"/>
              </a:defRPr>
            </a:lvl4pPr>
            <a:lvl5pPr>
              <a:defRPr sz="1600" b="0" i="0">
                <a:latin typeface="Calibri Light"/>
                <a:cs typeface="Calibri Ligh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335193" cy="639763"/>
          </a:xfrm>
        </p:spPr>
        <p:txBody>
          <a:bodyPr anchor="b"/>
          <a:lstStyle>
            <a:lvl1pPr marL="0" indent="0">
              <a:buNone/>
              <a:defRPr sz="2400" b="0" i="0">
                <a:latin typeface="Calibri Light"/>
                <a:cs typeface="Calibri Ligh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335193" cy="4491597"/>
          </a:xfrm>
        </p:spPr>
        <p:txBody>
          <a:bodyPr/>
          <a:lstStyle>
            <a:lvl1pPr>
              <a:defRPr sz="2400" b="0" i="0">
                <a:latin typeface="Calibri Light"/>
                <a:cs typeface="Calibri Light"/>
              </a:defRPr>
            </a:lvl1pPr>
            <a:lvl2pPr>
              <a:defRPr sz="2000" b="0" i="0">
                <a:latin typeface="Calibri Light"/>
                <a:cs typeface="Calibri Light"/>
              </a:defRPr>
            </a:lvl2pPr>
            <a:lvl3pPr>
              <a:defRPr sz="1800" b="0" i="0">
                <a:latin typeface="Calibri Light"/>
                <a:cs typeface="Calibri Light"/>
              </a:defRPr>
            </a:lvl3pPr>
            <a:lvl4pPr>
              <a:defRPr sz="1600" b="0" i="0">
                <a:latin typeface="Calibri Light"/>
                <a:cs typeface="Calibri Light"/>
              </a:defRPr>
            </a:lvl4pPr>
            <a:lvl5pPr>
              <a:defRPr sz="1600" b="0" i="0">
                <a:latin typeface="Calibri Light"/>
                <a:cs typeface="Calibri Ligh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  <p:sp>
        <p:nvSpPr>
          <p:cNvPr id="10" name="Rectangle 9"/>
          <p:cNvSpPr/>
          <p:nvPr/>
        </p:nvSpPr>
        <p:spPr>
          <a:xfrm>
            <a:off x="0" y="1370363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1" name="Picture 10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3" y="6243460"/>
            <a:ext cx="898505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023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82" y="274639"/>
            <a:ext cx="6903080" cy="1143000"/>
          </a:xfrm>
        </p:spPr>
        <p:txBody>
          <a:bodyPr anchor="b"/>
          <a:lstStyle>
            <a:lvl1pPr algn="l">
              <a:defRPr b="0" i="0">
                <a:latin typeface="Calibri Light"/>
                <a:cs typeface="Calibri Light"/>
              </a:defRPr>
            </a:lvl1pPr>
          </a:lstStyle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6" name="Rectangle 5"/>
          <p:cNvSpPr/>
          <p:nvPr/>
        </p:nvSpPr>
        <p:spPr>
          <a:xfrm>
            <a:off x="0" y="1370363"/>
            <a:ext cx="7054262" cy="94552"/>
          </a:xfrm>
          <a:prstGeom prst="rect">
            <a:avLst/>
          </a:prstGeom>
          <a:solidFill>
            <a:srgbClr val="0098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" name="Picture 6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3" y="6243460"/>
            <a:ext cx="898505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963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CaC_logo_2012_MR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6243460"/>
            <a:ext cx="1258547" cy="425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2803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1420" y="274639"/>
            <a:ext cx="8505381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smtClean="0"/>
              <a:t>Kliknutím lze upravit styl.</a:t>
            </a:r>
            <a:endParaRPr lang="cs-CZ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1419" y="1600201"/>
            <a:ext cx="8818958" cy="5106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8242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Calibri Light"/>
          <a:ea typeface="+mj-ea"/>
          <a:cs typeface="Calibri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/>
          </a:solidFill>
          <a:latin typeface="Calibri Light"/>
          <a:ea typeface="+mn-ea"/>
          <a:cs typeface="Calibri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b="0" i="0" kern="1200">
          <a:solidFill>
            <a:schemeClr val="tx1"/>
          </a:solidFill>
          <a:latin typeface="Calibri Light"/>
          <a:ea typeface="+mn-ea"/>
          <a:cs typeface="Calibri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Calibri Light"/>
          <a:ea typeface="+mn-ea"/>
          <a:cs typeface="Calibri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Calibri Light"/>
          <a:ea typeface="+mn-ea"/>
          <a:cs typeface="Calibri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0" i="0" kern="1200">
          <a:solidFill>
            <a:schemeClr val="tx1"/>
          </a:solidFill>
          <a:latin typeface="Calibri Light"/>
          <a:ea typeface="+mn-ea"/>
          <a:cs typeface="Calibri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cac.eu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9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17.emf"/><Relationship Id="rId5" Type="http://schemas.openxmlformats.org/officeDocument/2006/relationships/tags" Target="../tags/tag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chart" Target="../charts/chart1.xml"/><Relationship Id="rId5" Type="http://schemas.openxmlformats.org/officeDocument/2006/relationships/tags" Target="../tags/tag15.xml"/><Relationship Id="rId10" Type="http://schemas.openxmlformats.org/officeDocument/2006/relationships/image" Target="../media/image17.emf"/><Relationship Id="rId4" Type="http://schemas.openxmlformats.org/officeDocument/2006/relationships/tags" Target="../tags/tag14.xml"/><Relationship Id="rId9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755576" y="1988841"/>
            <a:ext cx="7772400" cy="1470025"/>
          </a:xfrm>
          <a:noFill/>
        </p:spPr>
        <p:txBody>
          <a:bodyPr>
            <a:normAutofit fontScale="90000"/>
          </a:bodyPr>
          <a:lstStyle/>
          <a:p>
            <a:pPr algn="l"/>
            <a:r>
              <a:rPr lang="cs-CZ" sz="4900" b="1" i="1" dirty="0" smtClean="0">
                <a:solidFill>
                  <a:srgbClr val="002060"/>
                </a:solidFill>
              </a:rPr>
              <a:t>Jak jsme na tom s kapacitou </a:t>
            </a:r>
            <a:br>
              <a:rPr lang="cs-CZ" sz="4900" b="1" i="1" dirty="0" smtClean="0">
                <a:solidFill>
                  <a:srgbClr val="002060"/>
                </a:solidFill>
              </a:rPr>
            </a:br>
            <a:r>
              <a:rPr lang="cs-CZ" sz="4900" b="1" i="1" dirty="0" smtClean="0">
                <a:solidFill>
                  <a:srgbClr val="002060"/>
                </a:solidFill>
              </a:rPr>
              <a:t>MŠ a ZŠ po roce 2020?</a:t>
            </a:r>
            <a:endParaRPr lang="cs-CZ" sz="4900" b="1" i="1" dirty="0">
              <a:solidFill>
                <a:srgbClr val="002060"/>
              </a:solidFill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188641"/>
            <a:ext cx="2088232" cy="80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Nadpis 1"/>
          <p:cNvSpPr txBox="1">
            <a:spLocks/>
          </p:cNvSpPr>
          <p:nvPr/>
        </p:nvSpPr>
        <p:spPr>
          <a:xfrm>
            <a:off x="690464" y="4740077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gr. Jana Hamanová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Ředitelka výzkumu</a:t>
            </a:r>
            <a:endParaRPr kumimoji="0" lang="cs-CZ" sz="28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35469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ěti 0 – 14 let</a:t>
            </a:r>
            <a:endParaRPr lang="cs-CZ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4177653"/>
              </p:ext>
            </p:extLst>
          </p:nvPr>
        </p:nvGraphicFramePr>
        <p:xfrm>
          <a:off x="179512" y="1582836"/>
          <a:ext cx="8874571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Obdélník 4"/>
          <p:cNvSpPr/>
          <p:nvPr/>
        </p:nvSpPr>
        <p:spPr>
          <a:xfrm>
            <a:off x="-25504" y="6550223"/>
            <a:ext cx="22322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/>
              <a:t>Zdroj </a:t>
            </a:r>
            <a:r>
              <a:rPr lang="cs-CZ" sz="1400" dirty="0" smtClean="0"/>
              <a:t>dat: ČSÚ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425018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6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seriesEl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/>
          <p:cNvSpPr txBox="1"/>
          <p:nvPr/>
        </p:nvSpPr>
        <p:spPr>
          <a:xfrm>
            <a:off x="1475656" y="5517641"/>
            <a:ext cx="6336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 smtClean="0"/>
              <a:t>96% přijatých dětí nakonec nastoupí do MŠ</a:t>
            </a:r>
            <a:r>
              <a:rPr lang="cs-CZ" dirty="0" smtClean="0"/>
              <a:t> </a:t>
            </a:r>
            <a:endParaRPr lang="cs-CZ" dirty="0"/>
          </a:p>
        </p:txBody>
      </p:sp>
      <p:sp>
        <p:nvSpPr>
          <p:cNvPr id="4" name="Obdélník 3"/>
          <p:cNvSpPr/>
          <p:nvPr/>
        </p:nvSpPr>
        <p:spPr>
          <a:xfrm>
            <a:off x="-1" y="6421978"/>
            <a:ext cx="26642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 smtClean="0"/>
              <a:t>Zdroj: údaje MŠMT</a:t>
            </a:r>
            <a:endParaRPr lang="cs-CZ" sz="1400" dirty="0"/>
          </a:p>
        </p:txBody>
      </p:sp>
      <p:graphicFrame>
        <p:nvGraphicFramePr>
          <p:cNvPr id="6" name="Graf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7065490"/>
              </p:ext>
            </p:extLst>
          </p:nvPr>
        </p:nvGraphicFramePr>
        <p:xfrm>
          <a:off x="-38482" y="625601"/>
          <a:ext cx="9364980" cy="4892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7512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6" grpId="0">
        <p:bldSub>
          <a:bldChart bld="category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Co z toho plyne?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 smtClean="0"/>
              <a:t>Počet dětí ve věku 0 – 14 let nebude v následujících 10 letech dramaticky růst ani klesat</a:t>
            </a:r>
          </a:p>
          <a:p>
            <a:endParaRPr lang="cs-CZ" sz="2400" dirty="0" smtClean="0"/>
          </a:p>
          <a:p>
            <a:r>
              <a:rPr lang="cs-CZ" sz="2400" dirty="0" smtClean="0"/>
              <a:t>Současné kapacity MŠ a ZŠ (případně SŠ) jsou ale závislé kromě počtu dětí na:</a:t>
            </a:r>
          </a:p>
          <a:p>
            <a:pPr lvl="1"/>
            <a:r>
              <a:rPr lang="cs-CZ" sz="2000" dirty="0" smtClean="0"/>
              <a:t>Stanovených normách počtu žáků na třídu a jejich vývoji do budoucna </a:t>
            </a:r>
          </a:p>
          <a:p>
            <a:pPr lvl="1"/>
            <a:r>
              <a:rPr lang="cs-CZ" sz="2000" dirty="0" smtClean="0"/>
              <a:t>Počtu učitelů </a:t>
            </a:r>
          </a:p>
          <a:p>
            <a:pPr lvl="1"/>
            <a:r>
              <a:rPr lang="cs-CZ" sz="2000" dirty="0" smtClean="0"/>
              <a:t>Zájmu rodičů</a:t>
            </a:r>
          </a:p>
          <a:p>
            <a:pPr lvl="1"/>
            <a:r>
              <a:rPr lang="cs-CZ" sz="2000" dirty="0" smtClean="0"/>
              <a:t>Možnostech neziskového / soukromého sektoru na poli předškolního </a:t>
            </a:r>
            <a:br>
              <a:rPr lang="cs-CZ" sz="2000" dirty="0" smtClean="0"/>
            </a:br>
            <a:r>
              <a:rPr lang="cs-CZ" sz="2000" dirty="0" smtClean="0"/>
              <a:t>i školního vzdělávání</a:t>
            </a:r>
          </a:p>
          <a:p>
            <a:pPr lvl="1"/>
            <a:r>
              <a:rPr lang="cs-CZ" sz="2000" dirty="0" smtClean="0"/>
              <a:t>Na fyzickém stavu současných budov / zařízení a jejich vybavení</a:t>
            </a:r>
          </a:p>
          <a:p>
            <a:pPr lvl="1"/>
            <a:endParaRPr lang="cs-CZ" sz="2000" dirty="0" smtClean="0"/>
          </a:p>
          <a:p>
            <a:pPr marL="457200" lvl="1" indent="0">
              <a:buNone/>
            </a:pPr>
            <a:endParaRPr lang="cs-CZ" sz="20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095803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 smtClean="0">
                <a:solidFill>
                  <a:srgbClr val="002060"/>
                </a:solidFill>
              </a:rPr>
              <a:t>Pro potřeby všech obcí…</a:t>
            </a:r>
            <a:endParaRPr lang="cs-CZ" b="1" dirty="0">
              <a:solidFill>
                <a:srgbClr val="002060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628800"/>
            <a:ext cx="822960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rgbClr val="002060"/>
                </a:solidFill>
              </a:rPr>
              <a:t>… měst, regionů, krajů atd.</a:t>
            </a:r>
          </a:p>
          <a:p>
            <a:pPr marL="0" indent="0">
              <a:buNone/>
            </a:pPr>
            <a:endParaRPr lang="cs-CZ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cs-CZ" sz="4400" b="1" dirty="0" smtClean="0">
                <a:solidFill>
                  <a:srgbClr val="002060"/>
                </a:solidFill>
              </a:rPr>
              <a:t>Populační kalkulačka SC&amp;C:</a:t>
            </a:r>
          </a:p>
          <a:p>
            <a:pPr marL="800100" lvl="2" indent="0">
              <a:buNone/>
            </a:pPr>
            <a:r>
              <a:rPr lang="cs-CZ" b="1" dirty="0" err="1" smtClean="0">
                <a:solidFill>
                  <a:srgbClr val="002060"/>
                </a:solidFill>
              </a:rPr>
              <a:t>Kohortně</a:t>
            </a:r>
            <a:r>
              <a:rPr lang="cs-CZ" b="1" dirty="0" smtClean="0">
                <a:solidFill>
                  <a:srgbClr val="002060"/>
                </a:solidFill>
              </a:rPr>
              <a:t>-komponentní model </a:t>
            </a:r>
          </a:p>
          <a:p>
            <a:pPr marL="800100" lvl="2" indent="0">
              <a:buNone/>
            </a:pPr>
            <a:r>
              <a:rPr lang="cs-CZ" b="1" dirty="0" smtClean="0">
                <a:solidFill>
                  <a:srgbClr val="002060"/>
                </a:solidFill>
              </a:rPr>
              <a:t>Vstupní data – demo verze dostupná na krajské úrovni:</a:t>
            </a:r>
          </a:p>
          <a:p>
            <a:pPr marL="1714500" lvl="3" indent="-457200"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2060"/>
                </a:solidFill>
              </a:rPr>
              <a:t>Věková struktura</a:t>
            </a:r>
          </a:p>
          <a:p>
            <a:pPr marL="1714500" lvl="3" indent="-457200"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2060"/>
                </a:solidFill>
              </a:rPr>
              <a:t>Míry plodnosti dle věku matky</a:t>
            </a:r>
          </a:p>
          <a:p>
            <a:pPr marL="1714500" lvl="3" indent="-457200"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2060"/>
                </a:solidFill>
              </a:rPr>
              <a:t>Úmrtnostní tabulky </a:t>
            </a:r>
            <a:endParaRPr lang="cs-CZ" sz="1600" b="1" dirty="0" smtClean="0">
              <a:solidFill>
                <a:srgbClr val="002060"/>
              </a:solidFill>
            </a:endParaRPr>
          </a:p>
          <a:p>
            <a:pPr marL="1714500" lvl="3" indent="-457200">
              <a:buFont typeface="Arial" panose="020B0604020202020204" pitchFamily="34" charset="0"/>
              <a:buChar char="•"/>
            </a:pPr>
            <a:r>
              <a:rPr lang="cs-CZ" sz="1600" b="1" dirty="0" smtClean="0">
                <a:solidFill>
                  <a:srgbClr val="002060"/>
                </a:solidFill>
              </a:rPr>
              <a:t>Od září 2017 bude dodána také migrace (na krajské úrovni)</a:t>
            </a:r>
            <a:endParaRPr lang="cs-CZ" sz="1600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224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0" indent="0"/>
            <a:r>
              <a:rPr lang="cs-CZ" sz="3600" b="1" dirty="0">
                <a:solidFill>
                  <a:srgbClr val="002060"/>
                </a:solidFill>
              </a:rPr>
              <a:t>Populační kalkulačka SC&amp;C:</a:t>
            </a:r>
          </a:p>
        </p:txBody>
      </p:sp>
      <p:sp>
        <p:nvSpPr>
          <p:cNvPr id="9" name="TextovéPole 8"/>
          <p:cNvSpPr txBox="1"/>
          <p:nvPr/>
        </p:nvSpPr>
        <p:spPr>
          <a:xfrm>
            <a:off x="371748" y="2899420"/>
            <a:ext cx="777686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000" b="1" dirty="0">
                <a:solidFill>
                  <a:srgbClr val="002060"/>
                </a:solidFill>
                <a:latin typeface="Calibri Light"/>
                <a:cs typeface="Calibri Light"/>
              </a:rPr>
              <a:t>Dostupná </a:t>
            </a:r>
            <a:r>
              <a:rPr lang="cs-CZ" sz="4000" b="1" dirty="0" smtClean="0">
                <a:solidFill>
                  <a:srgbClr val="002060"/>
                </a:solidFill>
                <a:latin typeface="Calibri Light"/>
                <a:cs typeface="Calibri Light"/>
              </a:rPr>
              <a:t>verze na webu</a:t>
            </a:r>
          </a:p>
          <a:p>
            <a:pPr algn="ctr"/>
            <a:r>
              <a:rPr lang="cs-CZ" sz="4000" b="1" dirty="0" smtClean="0">
                <a:solidFill>
                  <a:srgbClr val="002060"/>
                </a:solidFill>
                <a:latin typeface="Calibri Light"/>
                <a:cs typeface="Calibri Light"/>
                <a:hlinkClick r:id="rId3"/>
              </a:rPr>
              <a:t>www.scac.eu</a:t>
            </a:r>
            <a:endParaRPr lang="cs-CZ" sz="4000" b="1" dirty="0" smtClean="0">
              <a:solidFill>
                <a:srgbClr val="002060"/>
              </a:solidFill>
              <a:latin typeface="Calibri Light"/>
              <a:cs typeface="Calibri Light"/>
            </a:endParaRPr>
          </a:p>
          <a:p>
            <a:pPr algn="ctr"/>
            <a:endParaRPr lang="cs-CZ" sz="3600" b="1" dirty="0">
              <a:solidFill>
                <a:srgbClr val="002060"/>
              </a:solidFill>
              <a:latin typeface="Calibri Light"/>
              <a:cs typeface="Calibri Light"/>
            </a:endParaRPr>
          </a:p>
          <a:p>
            <a:pPr algn="ctr"/>
            <a:endParaRPr lang="cs-CZ" sz="3600" b="1" dirty="0">
              <a:solidFill>
                <a:srgbClr val="002060"/>
              </a:solidFill>
              <a:latin typeface="Calibri Light"/>
              <a:cs typeface="Calibri Light"/>
            </a:endParaRPr>
          </a:p>
          <a:p>
            <a:pPr algn="ctr"/>
            <a:r>
              <a:rPr lang="cs-CZ" sz="3600" b="1" dirty="0" smtClean="0">
                <a:solidFill>
                  <a:srgbClr val="002060"/>
                </a:solidFill>
                <a:latin typeface="Calibri Light"/>
                <a:cs typeface="Calibri Light"/>
              </a:rPr>
              <a:t>Můžeme si ji vyzkoušet…</a:t>
            </a:r>
            <a:endParaRPr lang="cs-CZ" sz="4000" b="1" dirty="0">
              <a:solidFill>
                <a:srgbClr val="002060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490662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76672"/>
            <a:ext cx="7925048" cy="6185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105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24" y="1412776"/>
            <a:ext cx="8944152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28" y="1988840"/>
            <a:ext cx="8901684" cy="387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6947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6632"/>
            <a:ext cx="5527548" cy="6563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812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60648"/>
            <a:ext cx="7591425" cy="577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6511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04664"/>
            <a:ext cx="7686675" cy="554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4914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Co ovlivňuje počet dětí?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52554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" y="1481138"/>
            <a:ext cx="8782050" cy="389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2421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48" y="332656"/>
            <a:ext cx="7572375" cy="565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8408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548680"/>
            <a:ext cx="7629525" cy="551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7310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850027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116632"/>
            <a:ext cx="8229600" cy="1143000"/>
          </a:xfrm>
        </p:spPr>
        <p:txBody>
          <a:bodyPr>
            <a:normAutofit/>
          </a:bodyPr>
          <a:lstStyle/>
          <a:p>
            <a:r>
              <a:rPr lang="cs-CZ" sz="3600" b="1" dirty="0" smtClean="0">
                <a:solidFill>
                  <a:srgbClr val="002060"/>
                </a:solidFill>
              </a:rPr>
              <a:t>Úhrnná plodnost a průměrný věk matek</a:t>
            </a:r>
            <a:endParaRPr lang="cs-CZ" sz="3600" b="1" dirty="0">
              <a:solidFill>
                <a:srgbClr val="002060"/>
              </a:solidFill>
            </a:endParaRP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5868144" y="6494662"/>
            <a:ext cx="13692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i="1" dirty="0"/>
              <a:t>Zdroj </a:t>
            </a:r>
            <a:r>
              <a:rPr lang="cs-CZ" sz="1400" i="1" dirty="0" smtClean="0"/>
              <a:t>grafu: ČSÚ</a:t>
            </a:r>
          </a:p>
        </p:txBody>
      </p:sp>
      <p:pic>
        <p:nvPicPr>
          <p:cNvPr id="2139" name="Picture 91"/>
          <p:cNvPicPr>
            <a:picLocks noGrp="1" noChangeAspect="1" noChangeArrowheads="1"/>
          </p:cNvPicPr>
          <p:nvPr>
            <p:ph idx="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0" name="Picture 9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1" name="Picture 9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2" name="Picture 9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3" name="Picture 9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4" name="Picture 9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5" name="Picture 9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6" name="Picture 98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66" y="1612934"/>
            <a:ext cx="7200000" cy="4660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7" name="Picture 99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76" y="1612934"/>
            <a:ext cx="7200000" cy="4660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8130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 smtClean="0">
                <a:solidFill>
                  <a:srgbClr val="002060"/>
                </a:solidFill>
              </a:rPr>
              <a:t>Míry plodnosti dle věku ženy</a:t>
            </a:r>
            <a:endParaRPr lang="cs-CZ" b="1" dirty="0">
              <a:solidFill>
                <a:srgbClr val="002060"/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628800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628800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628800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62" y="1643050"/>
            <a:ext cx="7200000" cy="4660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3786182" y="2786058"/>
            <a:ext cx="2114537" cy="64294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cs-CZ" sz="2000" b="1" dirty="0" err="1" smtClean="0"/>
              <a:t>úp</a:t>
            </a:r>
            <a:r>
              <a:rPr lang="cs-CZ" sz="2000" b="1" dirty="0" smtClean="0"/>
              <a:t> =2,80</a:t>
            </a:r>
            <a:endParaRPr lang="cs-CZ" sz="2000" b="1" dirty="0"/>
          </a:p>
        </p:txBody>
      </p:sp>
      <p:sp>
        <p:nvSpPr>
          <p:cNvPr id="16" name="Zástupný symbol pro obsah 2"/>
          <p:cNvSpPr txBox="1">
            <a:spLocks/>
          </p:cNvSpPr>
          <p:nvPr/>
        </p:nvSpPr>
        <p:spPr>
          <a:xfrm>
            <a:off x="3071802" y="2071678"/>
            <a:ext cx="2114537" cy="6429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úp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 =2,40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7" name="Zástupný symbol pro obsah 2"/>
          <p:cNvSpPr txBox="1">
            <a:spLocks/>
          </p:cNvSpPr>
          <p:nvPr/>
        </p:nvSpPr>
        <p:spPr>
          <a:xfrm>
            <a:off x="2571736" y="3929066"/>
            <a:ext cx="2114537" cy="6429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úp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 = 1,89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8" name="Zástupný symbol pro obsah 2"/>
          <p:cNvSpPr txBox="1">
            <a:spLocks/>
          </p:cNvSpPr>
          <p:nvPr/>
        </p:nvSpPr>
        <p:spPr>
          <a:xfrm>
            <a:off x="5500694" y="3714752"/>
            <a:ext cx="2114537" cy="6429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úp</a:t>
            </a:r>
            <a:r>
              <a:rPr kumimoji="0" lang="cs-CZ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t> =1,57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682705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allAtOnce"/>
      <p:bldP spid="16" grpId="0" build="allAtOnce"/>
      <p:bldP spid="17" grpId="0" build="allAtOnce"/>
      <p:bldP spid="18" grpId="0" build="allAtOnce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Co z toho plyne?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 smtClean="0"/>
              <a:t>Míra plodnosti pro prostou obnovu populace musí být min. </a:t>
            </a:r>
            <a:r>
              <a:rPr lang="cs-CZ" b="1" dirty="0" smtClean="0"/>
              <a:t>2,1</a:t>
            </a:r>
            <a:r>
              <a:rPr lang="cs-CZ" sz="2400" dirty="0" smtClean="0"/>
              <a:t> </a:t>
            </a:r>
            <a:br>
              <a:rPr lang="cs-CZ" sz="2400" dirty="0" smtClean="0"/>
            </a:br>
            <a:r>
              <a:rPr lang="cs-CZ" sz="2400" dirty="0" smtClean="0"/>
              <a:t>(v současné době jsme na čísle </a:t>
            </a:r>
            <a:r>
              <a:rPr lang="cs-CZ" sz="2400" b="1" dirty="0" smtClean="0">
                <a:solidFill>
                  <a:srgbClr val="FF0000"/>
                </a:solidFill>
              </a:rPr>
              <a:t>1,57</a:t>
            </a:r>
            <a:r>
              <a:rPr lang="cs-CZ" sz="2400" dirty="0" smtClean="0"/>
              <a:t>)</a:t>
            </a:r>
          </a:p>
          <a:p>
            <a:endParaRPr lang="cs-CZ" dirty="0"/>
          </a:p>
          <a:p>
            <a:pPr marL="457200" lvl="1" indent="0">
              <a:buNone/>
            </a:pP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260111"/>
              </p:ext>
            </p:extLst>
          </p:nvPr>
        </p:nvGraphicFramePr>
        <p:xfrm>
          <a:off x="611560" y="3429000"/>
          <a:ext cx="8136904" cy="24482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2301"/>
                <a:gridCol w="1890392"/>
                <a:gridCol w="1643819"/>
                <a:gridCol w="1890392"/>
              </a:tblGrid>
              <a:tr h="768640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/>
                        <a:t>1950</a:t>
                      </a:r>
                      <a:endParaRPr lang="cs-CZ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/>
                        <a:t>1974</a:t>
                      </a:r>
                      <a:endParaRPr lang="cs-CZ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 smtClean="0"/>
                        <a:t>2015</a:t>
                      </a:r>
                      <a:endParaRPr lang="cs-CZ" dirty="0"/>
                    </a:p>
                  </a:txBody>
                  <a:tcPr anchor="ctr"/>
                </a:tc>
              </a:tr>
              <a:tr h="768640">
                <a:tc>
                  <a:txBody>
                    <a:bodyPr/>
                    <a:lstStyle/>
                    <a:p>
                      <a:pPr algn="l"/>
                      <a:r>
                        <a:rPr lang="cs-CZ" b="1" dirty="0" smtClean="0"/>
                        <a:t>Průměrný</a:t>
                      </a:r>
                      <a:r>
                        <a:rPr lang="cs-CZ" b="1" baseline="0" dirty="0" smtClean="0"/>
                        <a:t> věk matky</a:t>
                      </a: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dirty="0" smtClean="0"/>
                        <a:t>28 let</a:t>
                      </a:r>
                      <a:endParaRPr lang="cs-CZ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dirty="0" smtClean="0"/>
                        <a:t>25</a:t>
                      </a:r>
                      <a:r>
                        <a:rPr lang="cs-CZ" sz="2800" baseline="0" dirty="0" smtClean="0"/>
                        <a:t> let</a:t>
                      </a:r>
                      <a:endParaRPr lang="cs-CZ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3200" b="1" dirty="0" smtClean="0"/>
                        <a:t>30 let</a:t>
                      </a:r>
                      <a:endParaRPr lang="cs-CZ" sz="3200" b="1" dirty="0"/>
                    </a:p>
                  </a:txBody>
                  <a:tcPr anchor="ctr"/>
                </a:tc>
              </a:tr>
              <a:tr h="910993">
                <a:tc>
                  <a:txBody>
                    <a:bodyPr/>
                    <a:lstStyle/>
                    <a:p>
                      <a:pPr algn="l"/>
                      <a:r>
                        <a:rPr lang="cs-CZ" b="1" dirty="0" smtClean="0"/>
                        <a:t>Průměrný věk prvorodičky</a:t>
                      </a:r>
                      <a:endParaRPr lang="cs-CZ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dirty="0" smtClean="0"/>
                        <a:t>23 let </a:t>
                      </a:r>
                      <a:endParaRPr lang="cs-CZ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800" dirty="0" smtClean="0"/>
                        <a:t>22 let</a:t>
                      </a:r>
                      <a:endParaRPr lang="cs-CZ" sz="2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3200" b="1" dirty="0" smtClean="0"/>
                        <a:t>28 let</a:t>
                      </a:r>
                      <a:endParaRPr lang="cs-CZ" sz="3200" b="1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8853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0" name="Picture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 smtClean="0">
                <a:solidFill>
                  <a:srgbClr val="002060"/>
                </a:solidFill>
              </a:rPr>
              <a:t>Základní demografické ukazatele</a:t>
            </a:r>
            <a:br>
              <a:rPr lang="cs-CZ" b="1" dirty="0" smtClean="0">
                <a:solidFill>
                  <a:srgbClr val="002060"/>
                </a:solidFill>
              </a:rPr>
            </a:br>
            <a:r>
              <a:rPr lang="cs-CZ" b="1" dirty="0" smtClean="0">
                <a:solidFill>
                  <a:srgbClr val="002060"/>
                </a:solidFill>
              </a:rPr>
              <a:t>- úmrtnost </a:t>
            </a:r>
            <a:endParaRPr lang="cs-CZ" b="1" dirty="0">
              <a:solidFill>
                <a:srgbClr val="002060"/>
              </a:solidFill>
            </a:endParaRPr>
          </a:p>
        </p:txBody>
      </p:sp>
      <p:sp>
        <p:nvSpPr>
          <p:cNvPr id="7" name="Obdélník 6"/>
          <p:cNvSpPr/>
          <p:nvPr>
            <p:custDataLst>
              <p:tags r:id="rId4"/>
            </p:custDataLst>
          </p:nvPr>
        </p:nvSpPr>
        <p:spPr>
          <a:xfrm>
            <a:off x="7092282" y="6453337"/>
            <a:ext cx="12217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i="1" dirty="0"/>
              <a:t>Zdroj </a:t>
            </a:r>
            <a:r>
              <a:rPr lang="cs-CZ" sz="1400" i="1" dirty="0" smtClean="0"/>
              <a:t>dat: ČSÚ</a:t>
            </a:r>
          </a:p>
        </p:txBody>
      </p:sp>
      <p:pic>
        <p:nvPicPr>
          <p:cNvPr id="25601" name="Picture 1"/>
          <p:cNvPicPr>
            <a:picLocks noGrp="1" noChangeAspect="1" noChangeArrowheads="1"/>
          </p:cNvPicPr>
          <p:nvPr>
            <p:ph idx="1"/>
            <p:custDataLst>
              <p:tags r:id="rId5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71560" y="1773337"/>
            <a:ext cx="7225428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603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71599" y="1773337"/>
            <a:ext cx="722535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604" name="Picture 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71600" y="1773337"/>
            <a:ext cx="7225349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45064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 smtClean="0">
                <a:solidFill>
                  <a:srgbClr val="002060"/>
                </a:solidFill>
              </a:rPr>
              <a:t>Naděje dožití při narození</a:t>
            </a:r>
            <a:endParaRPr lang="cs-CZ" b="1" dirty="0">
              <a:solidFill>
                <a:srgbClr val="002060"/>
              </a:solidFill>
            </a:endParaRPr>
          </a:p>
        </p:txBody>
      </p:sp>
      <p:sp>
        <p:nvSpPr>
          <p:cNvPr id="7" name="Obdélník 6"/>
          <p:cNvSpPr/>
          <p:nvPr>
            <p:custDataLst>
              <p:tags r:id="rId1"/>
            </p:custDataLst>
          </p:nvPr>
        </p:nvSpPr>
        <p:spPr>
          <a:xfrm>
            <a:off x="7092282" y="6453337"/>
            <a:ext cx="12217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i="1" dirty="0"/>
              <a:t>Zdroj </a:t>
            </a:r>
            <a:r>
              <a:rPr lang="cs-CZ" sz="1400" i="1" dirty="0" smtClean="0"/>
              <a:t>dat: ČSÚ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00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01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9000"/>
            <a:ext cx="6674520" cy="43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6524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4919664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Picture 1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Graf 7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46544501"/>
              </p:ext>
            </p:extLst>
          </p:nvPr>
        </p:nvGraphicFramePr>
        <p:xfrm>
          <a:off x="107504" y="1556792"/>
          <a:ext cx="8928992" cy="5157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79512" y="188640"/>
            <a:ext cx="6893001" cy="1143000"/>
          </a:xfrm>
        </p:spPr>
        <p:txBody>
          <a:bodyPr>
            <a:normAutofit/>
          </a:bodyPr>
          <a:lstStyle/>
          <a:p>
            <a:r>
              <a:rPr lang="cs-CZ" b="1" dirty="0" smtClean="0">
                <a:solidFill>
                  <a:srgbClr val="002060"/>
                </a:solidFill>
              </a:rPr>
              <a:t>Pohyb obyvatelstva</a:t>
            </a:r>
            <a:endParaRPr lang="cs-CZ" b="1" dirty="0">
              <a:solidFill>
                <a:srgbClr val="002060"/>
              </a:solidFill>
            </a:endParaRPr>
          </a:p>
        </p:txBody>
      </p:sp>
      <p:sp>
        <p:nvSpPr>
          <p:cNvPr id="5" name="Obdélník 4"/>
          <p:cNvSpPr/>
          <p:nvPr>
            <p:custDataLst>
              <p:tags r:id="rId5"/>
            </p:custDataLst>
          </p:nvPr>
        </p:nvSpPr>
        <p:spPr>
          <a:xfrm>
            <a:off x="-36782" y="6605773"/>
            <a:ext cx="22322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/>
              <a:t>Zdroj </a:t>
            </a:r>
            <a:r>
              <a:rPr lang="cs-CZ" sz="1200" dirty="0" smtClean="0"/>
              <a:t>dat: ČSÚ</a:t>
            </a:r>
            <a:endParaRPr lang="cs-CZ" sz="1200" dirty="0"/>
          </a:p>
        </p:txBody>
      </p:sp>
      <p:cxnSp>
        <p:nvCxnSpPr>
          <p:cNvPr id="9" name="Přímá spojovací čára 8"/>
          <p:cNvCxnSpPr/>
          <p:nvPr>
            <p:custDataLst>
              <p:tags r:id="rId6"/>
            </p:custDataLst>
          </p:nvPr>
        </p:nvCxnSpPr>
        <p:spPr>
          <a:xfrm>
            <a:off x="7884368" y="4725144"/>
            <a:ext cx="0" cy="1152128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668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8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8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8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8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8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8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8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8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8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8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8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8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8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75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8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8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25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50"/>
                                        <p:tgtEl>
                                          <p:spTgt spid="8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8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75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8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000"/>
                            </p:stCondLst>
                            <p:childTnLst>
                              <p:par>
                                <p:cTn id="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8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250"/>
                            </p:stCondLst>
                            <p:childTnLst>
                              <p:par>
                                <p:cTn id="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50"/>
                                        <p:tgtEl>
                                          <p:spTgt spid="8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5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8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750"/>
                            </p:stCondLst>
                            <p:childTnLst>
                              <p:par>
                                <p:cTn id="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250"/>
                                        <p:tgtEl>
                                          <p:spTgt spid="8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600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8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6250"/>
                            </p:stCondLst>
                            <p:childTnLst>
                              <p:par>
                                <p:cTn id="1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50"/>
                                        <p:tgtEl>
                                          <p:spTgt spid="8">
                                            <p:graphicEl>
                                              <a:chart seriesIdx="-4" categoryIdx="2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65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50"/>
                                        <p:tgtEl>
                                          <p:spTgt spid="8">
                                            <p:graphicEl>
                                              <a:chart seriesIdx="-4" categoryIdx="2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675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8">
                                            <p:graphicEl>
                                              <a:chart seriesIdx="-4" categoryIdx="2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700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250"/>
                                        <p:tgtEl>
                                          <p:spTgt spid="8">
                                            <p:graphicEl>
                                              <a:chart seriesIdx="-4" categoryIdx="2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7250"/>
                            </p:stCondLst>
                            <p:childTnLst>
                              <p:par>
                                <p:cTn id="1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250"/>
                                        <p:tgtEl>
                                          <p:spTgt spid="8">
                                            <p:graphicEl>
                                              <a:chart seriesIdx="-4" categoryIdx="2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750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2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8">
                                            <p:graphicEl>
                                              <a:chart seriesIdx="-4" categoryIdx="2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775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250"/>
                                        <p:tgtEl>
                                          <p:spTgt spid="8">
                                            <p:graphicEl>
                                              <a:chart seriesIdx="-4" categoryIdx="3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800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250"/>
                                        <p:tgtEl>
                                          <p:spTgt spid="8">
                                            <p:graphicEl>
                                              <a:chart seriesIdx="-4" categoryIdx="3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8250"/>
                            </p:stCondLst>
                            <p:childTnLst>
                              <p:par>
                                <p:cTn id="1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50"/>
                                        <p:tgtEl>
                                          <p:spTgt spid="8">
                                            <p:graphicEl>
                                              <a:chart seriesIdx="-4" categoryIdx="3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8500"/>
                            </p:stCondLst>
                            <p:childTnLst>
                              <p:par>
                                <p:cTn id="1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250"/>
                                        <p:tgtEl>
                                          <p:spTgt spid="8">
                                            <p:graphicEl>
                                              <a:chart seriesIdx="-4" categoryIdx="3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8750"/>
                            </p:stCondLst>
                            <p:childTnLst>
                              <p:par>
                                <p:cTn id="1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250"/>
                                        <p:tgtEl>
                                          <p:spTgt spid="8">
                                            <p:graphicEl>
                                              <a:chart seriesIdx="-4" categoryIdx="3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9000"/>
                            </p:stCondLst>
                            <p:childTnLst>
                              <p:par>
                                <p:cTn id="1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50"/>
                                        <p:tgtEl>
                                          <p:spTgt spid="8">
                                            <p:graphicEl>
                                              <a:chart seriesIdx="-4" categoryIdx="3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9250"/>
                            </p:stCondLst>
                            <p:childTnLst>
                              <p:par>
                                <p:cTn id="1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250"/>
                                        <p:tgtEl>
                                          <p:spTgt spid="8">
                                            <p:graphicEl>
                                              <a:chart seriesIdx="-4" categoryIdx="3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9500"/>
                            </p:stCondLst>
                            <p:childTnLst>
                              <p:par>
                                <p:cTn id="1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250"/>
                                        <p:tgtEl>
                                          <p:spTgt spid="8">
                                            <p:graphicEl>
                                              <a:chart seriesIdx="-4" categoryIdx="3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9750"/>
                            </p:stCondLst>
                            <p:childTnLst>
                              <p:par>
                                <p:cTn id="1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250"/>
                                        <p:tgtEl>
                                          <p:spTgt spid="8">
                                            <p:graphicEl>
                                              <a:chart seriesIdx="-4" categoryIdx="3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3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250"/>
                                        <p:tgtEl>
                                          <p:spTgt spid="8">
                                            <p:graphicEl>
                                              <a:chart seriesIdx="-4" categoryIdx="3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10250"/>
                            </p:stCondLst>
                            <p:childTnLst>
                              <p:par>
                                <p:cTn id="1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250"/>
                                        <p:tgtEl>
                                          <p:spTgt spid="8">
                                            <p:graphicEl>
                                              <a:chart seriesIdx="-4" categoryIdx="4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250"/>
                                        <p:tgtEl>
                                          <p:spTgt spid="8">
                                            <p:graphicEl>
                                              <a:chart seriesIdx="-4" categoryIdx="4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10750"/>
                            </p:stCondLst>
                            <p:childTnLst>
                              <p:par>
                                <p:cTn id="1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250"/>
                                        <p:tgtEl>
                                          <p:spTgt spid="8">
                                            <p:graphicEl>
                                              <a:chart seriesIdx="-4" categoryIdx="4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1000"/>
                            </p:stCondLst>
                            <p:childTnLst>
                              <p:par>
                                <p:cTn id="1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250"/>
                                        <p:tgtEl>
                                          <p:spTgt spid="8">
                                            <p:graphicEl>
                                              <a:chart seriesIdx="-4" categoryIdx="4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1250"/>
                            </p:stCondLst>
                            <p:childTnLst>
                              <p:par>
                                <p:cTn id="1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250"/>
                                        <p:tgtEl>
                                          <p:spTgt spid="8">
                                            <p:graphicEl>
                                              <a:chart seriesIdx="-4" categoryIdx="4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11500"/>
                            </p:stCondLst>
                            <p:childTnLst>
                              <p:par>
                                <p:cTn id="1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250"/>
                                        <p:tgtEl>
                                          <p:spTgt spid="8">
                                            <p:graphicEl>
                                              <a:chart seriesIdx="-4" categoryIdx="4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11750"/>
                            </p:stCondLst>
                            <p:childTnLst>
                              <p:par>
                                <p:cTn id="1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250"/>
                                        <p:tgtEl>
                                          <p:spTgt spid="8">
                                            <p:graphicEl>
                                              <a:chart seriesIdx="-4" categoryIdx="4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250"/>
                                        <p:tgtEl>
                                          <p:spTgt spid="8">
                                            <p:graphicEl>
                                              <a:chart seriesIdx="-4" categoryIdx="4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12250"/>
                            </p:stCondLst>
                            <p:childTnLst>
                              <p:par>
                                <p:cTn id="2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250"/>
                                        <p:tgtEl>
                                          <p:spTgt spid="8">
                                            <p:graphicEl>
                                              <a:chart seriesIdx="-4" categoryIdx="4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2500"/>
                            </p:stCondLst>
                            <p:childTnLst>
                              <p:par>
                                <p:cTn id="2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4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250"/>
                                        <p:tgtEl>
                                          <p:spTgt spid="8">
                                            <p:graphicEl>
                                              <a:chart seriesIdx="-4" categoryIdx="4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12750"/>
                            </p:stCondLst>
                            <p:childTnLst>
                              <p:par>
                                <p:cTn id="2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250"/>
                                        <p:tgtEl>
                                          <p:spTgt spid="8">
                                            <p:graphicEl>
                                              <a:chart seriesIdx="-4" categoryIdx="5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13000"/>
                            </p:stCondLst>
                            <p:childTnLst>
                              <p:par>
                                <p:cTn id="2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250"/>
                                        <p:tgtEl>
                                          <p:spTgt spid="8">
                                            <p:graphicEl>
                                              <a:chart seriesIdx="-4" categoryIdx="5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13250"/>
                            </p:stCondLst>
                            <p:childTnLst>
                              <p:par>
                                <p:cTn id="2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250"/>
                                        <p:tgtEl>
                                          <p:spTgt spid="8">
                                            <p:graphicEl>
                                              <a:chart seriesIdx="-4" categoryIdx="5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13500"/>
                            </p:stCondLst>
                            <p:childTnLst>
                              <p:par>
                                <p:cTn id="2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250"/>
                                        <p:tgtEl>
                                          <p:spTgt spid="8">
                                            <p:graphicEl>
                                              <a:chart seriesIdx="-4" categoryIdx="5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13750"/>
                            </p:stCondLst>
                            <p:childTnLst>
                              <p:par>
                                <p:cTn id="2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250"/>
                                        <p:tgtEl>
                                          <p:spTgt spid="8">
                                            <p:graphicEl>
                                              <a:chart seriesIdx="-4" categoryIdx="5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14000"/>
                            </p:stCondLst>
                            <p:childTnLst>
                              <p:par>
                                <p:cTn id="2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250"/>
                                        <p:tgtEl>
                                          <p:spTgt spid="8">
                                            <p:graphicEl>
                                              <a:chart seriesIdx="-4" categoryIdx="5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14250"/>
                            </p:stCondLst>
                            <p:childTnLst>
                              <p:par>
                                <p:cTn id="2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250"/>
                                        <p:tgtEl>
                                          <p:spTgt spid="8">
                                            <p:graphicEl>
                                              <a:chart seriesIdx="-4" categoryIdx="5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6" fill="hold">
                            <p:stCondLst>
                              <p:cond delay="14500"/>
                            </p:stCondLst>
                            <p:childTnLst>
                              <p:par>
                                <p:cTn id="2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250"/>
                                        <p:tgtEl>
                                          <p:spTgt spid="8">
                                            <p:graphicEl>
                                              <a:chart seriesIdx="-4" categoryIdx="5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14750"/>
                            </p:stCondLst>
                            <p:childTnLst>
                              <p:par>
                                <p:cTn id="2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250"/>
                                        <p:tgtEl>
                                          <p:spTgt spid="8">
                                            <p:graphicEl>
                                              <a:chart seriesIdx="-4" categoryIdx="5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15000"/>
                            </p:stCondLst>
                            <p:childTnLst>
                              <p:par>
                                <p:cTn id="2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5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250"/>
                                        <p:tgtEl>
                                          <p:spTgt spid="8">
                                            <p:graphicEl>
                                              <a:chart seriesIdx="-4" categoryIdx="5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8" fill="hold">
                            <p:stCondLst>
                              <p:cond delay="15250"/>
                            </p:stCondLst>
                            <p:childTnLst>
                              <p:par>
                                <p:cTn id="2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250"/>
                                        <p:tgtEl>
                                          <p:spTgt spid="8">
                                            <p:graphicEl>
                                              <a:chart seriesIdx="-4" categoryIdx="6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2" fill="hold">
                            <p:stCondLst>
                              <p:cond delay="15500"/>
                            </p:stCondLst>
                            <p:childTnLst>
                              <p:par>
                                <p:cTn id="2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250"/>
                                        <p:tgtEl>
                                          <p:spTgt spid="8">
                                            <p:graphicEl>
                                              <a:chart seriesIdx="-4" categoryIdx="6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15750"/>
                            </p:stCondLst>
                            <p:childTnLst>
                              <p:par>
                                <p:cTn id="2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250"/>
                                        <p:tgtEl>
                                          <p:spTgt spid="8">
                                            <p:graphicEl>
                                              <a:chart seriesIdx="-4" categoryIdx="6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0" fill="hold">
                            <p:stCondLst>
                              <p:cond delay="16000"/>
                            </p:stCondLst>
                            <p:childTnLst>
                              <p:par>
                                <p:cTn id="2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250"/>
                                        <p:tgtEl>
                                          <p:spTgt spid="8">
                                            <p:graphicEl>
                                              <a:chart seriesIdx="-4" categoryIdx="6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4" fill="hold">
                            <p:stCondLst>
                              <p:cond delay="16250"/>
                            </p:stCondLst>
                            <p:childTnLst>
                              <p:par>
                                <p:cTn id="2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250"/>
                                        <p:tgtEl>
                                          <p:spTgt spid="8">
                                            <p:graphicEl>
                                              <a:chart seriesIdx="-4" categoryIdx="6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>
                            <p:stCondLst>
                              <p:cond delay="16500"/>
                            </p:stCondLst>
                            <p:childTnLst>
                              <p:par>
                                <p:cTn id="2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250"/>
                                        <p:tgtEl>
                                          <p:spTgt spid="8">
                                            <p:graphicEl>
                                              <a:chart seriesIdx="-4" categoryIdx="6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2" fill="hold">
                            <p:stCondLst>
                              <p:cond delay="16750"/>
                            </p:stCondLst>
                            <p:childTnLst>
                              <p:par>
                                <p:cTn id="2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5" dur="250"/>
                                        <p:tgtEl>
                                          <p:spTgt spid="8">
                                            <p:graphicEl>
                                              <a:chart seriesIdx="-4" categoryIdx="6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>
                            <p:stCondLst>
                              <p:cond delay="17000"/>
                            </p:stCondLst>
                            <p:childTnLst>
                              <p:par>
                                <p:cTn id="2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250"/>
                                        <p:tgtEl>
                                          <p:spTgt spid="8">
                                            <p:graphicEl>
                                              <a:chart seriesIdx="-4" categoryIdx="6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>
                            <p:stCondLst>
                              <p:cond delay="17250"/>
                            </p:stCondLst>
                            <p:childTnLst>
                              <p:par>
                                <p:cTn id="2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250"/>
                                        <p:tgtEl>
                                          <p:spTgt spid="8">
                                            <p:graphicEl>
                                              <a:chart seriesIdx="-4" categoryIdx="6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4" fill="hold">
                            <p:stCondLst>
                              <p:cond delay="17500"/>
                            </p:stCondLst>
                            <p:childTnLst>
                              <p:par>
                                <p:cTn id="2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6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250"/>
                                        <p:tgtEl>
                                          <p:spTgt spid="8">
                                            <p:graphicEl>
                                              <a:chart seriesIdx="-4" categoryIdx="6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8" fill="hold">
                            <p:stCondLst>
                              <p:cond delay="17750"/>
                            </p:stCondLst>
                            <p:childTnLst>
                              <p:par>
                                <p:cTn id="2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1" dur="250"/>
                                        <p:tgtEl>
                                          <p:spTgt spid="8">
                                            <p:graphicEl>
                                              <a:chart seriesIdx="-4" categoryIdx="7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18000"/>
                            </p:stCondLst>
                            <p:childTnLst>
                              <p:par>
                                <p:cTn id="2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5" dur="250"/>
                                        <p:tgtEl>
                                          <p:spTgt spid="8">
                                            <p:graphicEl>
                                              <a:chart seriesIdx="-4" categoryIdx="7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18250"/>
                            </p:stCondLst>
                            <p:childTnLst>
                              <p:par>
                                <p:cTn id="29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9" dur="250"/>
                                        <p:tgtEl>
                                          <p:spTgt spid="8">
                                            <p:graphicEl>
                                              <a:chart seriesIdx="-4" categoryIdx="7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0" fill="hold">
                            <p:stCondLst>
                              <p:cond delay="18500"/>
                            </p:stCondLst>
                            <p:childTnLst>
                              <p:par>
                                <p:cTn id="3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3" dur="250"/>
                                        <p:tgtEl>
                                          <p:spTgt spid="8">
                                            <p:graphicEl>
                                              <a:chart seriesIdx="-4" categoryIdx="7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4" fill="hold">
                            <p:stCondLst>
                              <p:cond delay="18750"/>
                            </p:stCondLst>
                            <p:childTnLst>
                              <p:par>
                                <p:cTn id="30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7" dur="250"/>
                                        <p:tgtEl>
                                          <p:spTgt spid="8">
                                            <p:graphicEl>
                                              <a:chart seriesIdx="-4" categoryIdx="7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8" fill="hold">
                            <p:stCondLst>
                              <p:cond delay="19000"/>
                            </p:stCondLst>
                            <p:childTnLst>
                              <p:par>
                                <p:cTn id="3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250"/>
                                        <p:tgtEl>
                                          <p:spTgt spid="8">
                                            <p:graphicEl>
                                              <a:chart seriesIdx="-4" categoryIdx="7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2" fill="hold">
                            <p:stCondLst>
                              <p:cond delay="19250"/>
                            </p:stCondLst>
                            <p:childTnLst>
                              <p:par>
                                <p:cTn id="3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250"/>
                                        <p:tgtEl>
                                          <p:spTgt spid="8">
                                            <p:graphicEl>
                                              <a:chart seriesIdx="-4" categoryIdx="7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6" fill="hold">
                            <p:stCondLst>
                              <p:cond delay="19500"/>
                            </p:stCondLst>
                            <p:childTnLst>
                              <p:par>
                                <p:cTn id="3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250"/>
                                        <p:tgtEl>
                                          <p:spTgt spid="8">
                                            <p:graphicEl>
                                              <a:chart seriesIdx="-4" categoryIdx="7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0" fill="hold">
                            <p:stCondLst>
                              <p:cond delay="19750"/>
                            </p:stCondLst>
                            <p:childTnLst>
                              <p:par>
                                <p:cTn id="3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3" dur="250"/>
                                        <p:tgtEl>
                                          <p:spTgt spid="8">
                                            <p:graphicEl>
                                              <a:chart seriesIdx="-4" categoryIdx="7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4" fill="hold">
                            <p:stCondLst>
                              <p:cond delay="20000"/>
                            </p:stCondLst>
                            <p:childTnLst>
                              <p:par>
                                <p:cTn id="3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7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250"/>
                                        <p:tgtEl>
                                          <p:spTgt spid="8">
                                            <p:graphicEl>
                                              <a:chart seriesIdx="-4" categoryIdx="7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>
                            <p:stCondLst>
                              <p:cond delay="20250"/>
                            </p:stCondLst>
                            <p:childTnLst>
                              <p:par>
                                <p:cTn id="3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250"/>
                                        <p:tgtEl>
                                          <p:spTgt spid="8">
                                            <p:graphicEl>
                                              <a:chart seriesIdx="-4" categoryIdx="8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2" fill="hold">
                            <p:stCondLst>
                              <p:cond delay="20500"/>
                            </p:stCondLst>
                            <p:childTnLst>
                              <p:par>
                                <p:cTn id="3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5" dur="250"/>
                                        <p:tgtEl>
                                          <p:spTgt spid="8">
                                            <p:graphicEl>
                                              <a:chart seriesIdx="-4" categoryIdx="8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6" fill="hold">
                            <p:stCondLst>
                              <p:cond delay="20750"/>
                            </p:stCondLst>
                            <p:childTnLst>
                              <p:par>
                                <p:cTn id="3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9" dur="250"/>
                                        <p:tgtEl>
                                          <p:spTgt spid="8">
                                            <p:graphicEl>
                                              <a:chart seriesIdx="-4" categoryIdx="8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0" fill="hold">
                            <p:stCondLst>
                              <p:cond delay="21000"/>
                            </p:stCondLst>
                            <p:childTnLst>
                              <p:par>
                                <p:cTn id="3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3" dur="250"/>
                                        <p:tgtEl>
                                          <p:spTgt spid="8">
                                            <p:graphicEl>
                                              <a:chart seriesIdx="-4" categoryIdx="8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4" fill="hold">
                            <p:stCondLst>
                              <p:cond delay="21250"/>
                            </p:stCondLst>
                            <p:childTnLst>
                              <p:par>
                                <p:cTn id="3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7" dur="250"/>
                                        <p:tgtEl>
                                          <p:spTgt spid="8">
                                            <p:graphicEl>
                                              <a:chart seriesIdx="-4" categoryIdx="8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8" fill="hold">
                            <p:stCondLst>
                              <p:cond delay="21500"/>
                            </p:stCondLst>
                            <p:childTnLst>
                              <p:par>
                                <p:cTn id="3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1" dur="250"/>
                                        <p:tgtEl>
                                          <p:spTgt spid="8">
                                            <p:graphicEl>
                                              <a:chart seriesIdx="-4" categoryIdx="8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2" fill="hold">
                            <p:stCondLst>
                              <p:cond delay="21750"/>
                            </p:stCondLst>
                            <p:childTnLst>
                              <p:par>
                                <p:cTn id="3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250"/>
                                        <p:tgtEl>
                                          <p:spTgt spid="8">
                                            <p:graphicEl>
                                              <a:chart seriesIdx="-4" categoryIdx="8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6" fill="hold">
                            <p:stCondLst>
                              <p:cond delay="22000"/>
                            </p:stCondLst>
                            <p:childTnLst>
                              <p:par>
                                <p:cTn id="3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9" dur="250"/>
                                        <p:tgtEl>
                                          <p:spTgt spid="8">
                                            <p:graphicEl>
                                              <a:chart seriesIdx="-4" categoryIdx="8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0" fill="hold">
                            <p:stCondLst>
                              <p:cond delay="22250"/>
                            </p:stCondLst>
                            <p:childTnLst>
                              <p:par>
                                <p:cTn id="3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3" dur="250"/>
                                        <p:tgtEl>
                                          <p:spTgt spid="8">
                                            <p:graphicEl>
                                              <a:chart seriesIdx="-4" categoryIdx="8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4" fill="hold">
                            <p:stCondLst>
                              <p:cond delay="22500"/>
                            </p:stCondLst>
                            <p:childTnLst>
                              <p:par>
                                <p:cTn id="3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8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7" dur="250"/>
                                        <p:tgtEl>
                                          <p:spTgt spid="8">
                                            <p:graphicEl>
                                              <a:chart seriesIdx="-4" categoryIdx="8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>
                            <p:stCondLst>
                              <p:cond delay="22750"/>
                            </p:stCondLst>
                            <p:childTnLst>
                              <p:par>
                                <p:cTn id="3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250"/>
                                        <p:tgtEl>
                                          <p:spTgt spid="8">
                                            <p:graphicEl>
                                              <a:chart seriesIdx="-4" categoryIdx="9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2" fill="hold">
                            <p:stCondLst>
                              <p:cond delay="23000"/>
                            </p:stCondLst>
                            <p:childTnLst>
                              <p:par>
                                <p:cTn id="3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5" dur="250"/>
                                        <p:tgtEl>
                                          <p:spTgt spid="8">
                                            <p:graphicEl>
                                              <a:chart seriesIdx="-4" categoryIdx="9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6" fill="hold">
                            <p:stCondLst>
                              <p:cond delay="23250"/>
                            </p:stCondLst>
                            <p:childTnLst>
                              <p:par>
                                <p:cTn id="3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250"/>
                                        <p:tgtEl>
                                          <p:spTgt spid="8">
                                            <p:graphicEl>
                                              <a:chart seriesIdx="-4" categoryIdx="9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0" fill="hold">
                            <p:stCondLst>
                              <p:cond delay="23500"/>
                            </p:stCondLst>
                            <p:childTnLst>
                              <p:par>
                                <p:cTn id="3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250"/>
                                        <p:tgtEl>
                                          <p:spTgt spid="8">
                                            <p:graphicEl>
                                              <a:chart seriesIdx="-4" categoryIdx="9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4" fill="hold">
                            <p:stCondLst>
                              <p:cond delay="23750"/>
                            </p:stCondLst>
                            <p:childTnLst>
                              <p:par>
                                <p:cTn id="38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7" dur="250"/>
                                        <p:tgtEl>
                                          <p:spTgt spid="8">
                                            <p:graphicEl>
                                              <a:chart seriesIdx="-4" categoryIdx="9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8" fill="hold">
                            <p:stCondLst>
                              <p:cond delay="24000"/>
                            </p:stCondLst>
                            <p:childTnLst>
                              <p:par>
                                <p:cTn id="38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1" dur="250"/>
                                        <p:tgtEl>
                                          <p:spTgt spid="8">
                                            <p:graphicEl>
                                              <a:chart seriesIdx="-4" categoryIdx="9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2" fill="hold">
                            <p:stCondLst>
                              <p:cond delay="24250"/>
                            </p:stCondLst>
                            <p:childTnLst>
                              <p:par>
                                <p:cTn id="3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4" categoryIdx="9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5" dur="250"/>
                                        <p:tgtEl>
                                          <p:spTgt spid="8">
                                            <p:graphicEl>
                                              <a:chart seriesIdx="-4" categoryIdx="9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6" fill="hold">
                            <p:stCondLst>
                              <p:cond delay="24500"/>
                            </p:stCondLst>
                            <p:childTnLst>
                              <p:par>
                                <p:cTn id="397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Sub>
          <a:bldChart bld="category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9817" y="6648"/>
            <a:ext cx="6893001" cy="1143000"/>
          </a:xfrm>
        </p:spPr>
        <p:txBody>
          <a:bodyPr>
            <a:normAutofit/>
          </a:bodyPr>
          <a:lstStyle/>
          <a:p>
            <a:r>
              <a:rPr lang="cs-CZ" b="1" dirty="0" smtClean="0">
                <a:solidFill>
                  <a:srgbClr val="002060"/>
                </a:solidFill>
              </a:rPr>
              <a:t>Věková</a:t>
            </a:r>
            <a:r>
              <a:rPr lang="cs-CZ" b="1" dirty="0" smtClean="0"/>
              <a:t> </a:t>
            </a:r>
            <a:r>
              <a:rPr lang="cs-CZ" b="1" dirty="0" smtClean="0">
                <a:solidFill>
                  <a:srgbClr val="002060"/>
                </a:solidFill>
              </a:rPr>
              <a:t>struktura</a:t>
            </a:r>
            <a:endParaRPr lang="cs-CZ" b="1" dirty="0">
              <a:solidFill>
                <a:srgbClr val="002060"/>
              </a:solidFill>
            </a:endParaRP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483678"/>
            <a:ext cx="7128792" cy="4535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bdélník 4"/>
          <p:cNvSpPr/>
          <p:nvPr/>
        </p:nvSpPr>
        <p:spPr>
          <a:xfrm>
            <a:off x="1475656" y="6452683"/>
            <a:ext cx="22322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dirty="0"/>
              <a:t>Zdroj </a:t>
            </a:r>
            <a:r>
              <a:rPr lang="cs-CZ" sz="1400" dirty="0" smtClean="0"/>
              <a:t>dat: ČSÚ</a:t>
            </a:r>
            <a:endParaRPr lang="cs-CZ" sz="1400" dirty="0"/>
          </a:p>
        </p:txBody>
      </p:sp>
      <p:sp>
        <p:nvSpPr>
          <p:cNvPr id="7" name="Obdélník 6"/>
          <p:cNvSpPr/>
          <p:nvPr/>
        </p:nvSpPr>
        <p:spPr>
          <a:xfrm>
            <a:off x="96029" y="6144907"/>
            <a:ext cx="8669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dirty="0">
                <a:solidFill>
                  <a:srgbClr val="002060"/>
                </a:solidFill>
              </a:rPr>
              <a:t>Struktura obyvatelstva podle pohlaví a věku </a:t>
            </a:r>
            <a:r>
              <a:rPr lang="cs-CZ" sz="1200" b="1" dirty="0" smtClean="0">
                <a:solidFill>
                  <a:srgbClr val="002060"/>
                </a:solidFill>
              </a:rPr>
              <a:t>= základní demografická struktura </a:t>
            </a:r>
            <a:r>
              <a:rPr lang="cs-CZ" sz="1200" b="1" dirty="0">
                <a:solidFill>
                  <a:srgbClr val="002060"/>
                </a:solidFill>
              </a:rPr>
              <a:t>obyvatelstva. </a:t>
            </a:r>
            <a:endParaRPr lang="cs-CZ" sz="1200" b="1" dirty="0" smtClean="0">
              <a:solidFill>
                <a:srgbClr val="002060"/>
              </a:solidFill>
            </a:endParaRPr>
          </a:p>
          <a:p>
            <a:pPr algn="ctr"/>
            <a:endParaRPr lang="cs-CZ" sz="1200" b="1" dirty="0" smtClean="0">
              <a:solidFill>
                <a:srgbClr val="002060"/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313" y="1483679"/>
            <a:ext cx="7167693" cy="4509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483678"/>
            <a:ext cx="7128792" cy="4537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7428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biZfb8OECdOo.I6TIH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uP8ttza0yOGMA2e1Ix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CujVDX5U6KawXVpvNt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zFrnaQ0y4LJ18qY2G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wZ5Sz1okqaw5NoZ6E2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_XZ77fwkKD_fTLrfOY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L0o8WV8kK_kL0UQyit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jqn5MqUEezy90oW7Wn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S6JtxdMEWa5vtSDKPj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F6vSqLIEekAoAklLF2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W30VUUNkmWJ.tF6jd2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PoEE.YLUqYiCfZH66WDw"/>
</p:tagLst>
</file>

<file path=ppt/theme/theme1.xml><?xml version="1.0" encoding="utf-8"?>
<a:theme xmlns:a="http://schemas.openxmlformats.org/drawingml/2006/main" name="Motiv1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Kancelář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480</TotalTime>
  <Words>326</Words>
  <Application>Microsoft Office PowerPoint</Application>
  <PresentationFormat>Předvádění na obrazovce (4:3)</PresentationFormat>
  <Paragraphs>87</Paragraphs>
  <Slides>22</Slides>
  <Notes>10</Notes>
  <HiddenSlides>1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24" baseType="lpstr">
      <vt:lpstr>Motiv1</vt:lpstr>
      <vt:lpstr>think-cell Slide</vt:lpstr>
      <vt:lpstr>Jak jsme na tom s kapacitou  MŠ a ZŠ po roce 2020?</vt:lpstr>
      <vt:lpstr>Co ovlivňuje počet dětí?</vt:lpstr>
      <vt:lpstr>Úhrnná plodnost a průměrný věk matek</vt:lpstr>
      <vt:lpstr>Míry plodnosti dle věku ženy</vt:lpstr>
      <vt:lpstr>Co z toho plyne?</vt:lpstr>
      <vt:lpstr>Základní demografické ukazatele - úmrtnost </vt:lpstr>
      <vt:lpstr>Naděje dožití při narození</vt:lpstr>
      <vt:lpstr>Pohyb obyvatelstva</vt:lpstr>
      <vt:lpstr>Věková struktura</vt:lpstr>
      <vt:lpstr>Děti 0 – 14 let</vt:lpstr>
      <vt:lpstr>Prezentace aplikace PowerPoint</vt:lpstr>
      <vt:lpstr>Co z toho plyne?</vt:lpstr>
      <vt:lpstr>Pro potřeby všech obcí…</vt:lpstr>
      <vt:lpstr>Populační kalkulačka SC&amp;C: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 víme o ČR?</dc:title>
  <dc:creator>jhamanova</dc:creator>
  <cp:lastModifiedBy>jhamanova</cp:lastModifiedBy>
  <cp:revision>159</cp:revision>
  <cp:lastPrinted>2017-02-22T13:51:28Z</cp:lastPrinted>
  <dcterms:created xsi:type="dcterms:W3CDTF">2016-08-04T10:19:05Z</dcterms:created>
  <dcterms:modified xsi:type="dcterms:W3CDTF">2017-06-05T09:36:19Z</dcterms:modified>
</cp:coreProperties>
</file>